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9" r:id="rId3"/>
    <p:sldId id="278" r:id="rId4"/>
    <p:sldId id="292" r:id="rId5"/>
    <p:sldId id="289" r:id="rId6"/>
    <p:sldId id="290" r:id="rId7"/>
    <p:sldId id="291" r:id="rId8"/>
    <p:sldId id="261" r:id="rId9"/>
    <p:sldId id="263" r:id="rId10"/>
    <p:sldId id="288" r:id="rId11"/>
    <p:sldId id="258" r:id="rId12"/>
    <p:sldId id="272" r:id="rId13"/>
    <p:sldId id="264" r:id="rId14"/>
    <p:sldId id="268" r:id="rId15"/>
    <p:sldId id="269" r:id="rId16"/>
    <p:sldId id="281" r:id="rId17"/>
    <p:sldId id="293" r:id="rId18"/>
    <p:sldId id="294" r:id="rId19"/>
    <p:sldId id="27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E4CC88-8127-47D5-95E3-14F77B10D56C}" v="62" dt="2025-04-06T06:35:10.3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60784" autoAdjust="0"/>
  </p:normalViewPr>
  <p:slideViewPr>
    <p:cSldViewPr snapToGrid="0">
      <p:cViewPr varScale="1">
        <p:scale>
          <a:sx n="39" d="100"/>
          <a:sy n="39" d="100"/>
        </p:scale>
        <p:origin x="167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fia Olsson" userId="e57304f8-51ed-4755-9aa3-554bc1d67766" providerId="ADAL" clId="{14E4CC88-8127-47D5-95E3-14F77B10D56C}"/>
    <pc:docChg chg="undo custSel addSld delSld modSld sldOrd">
      <pc:chgData name="Sofia Olsson" userId="e57304f8-51ed-4755-9aa3-554bc1d67766" providerId="ADAL" clId="{14E4CC88-8127-47D5-95E3-14F77B10D56C}" dt="2025-04-10T06:04:15.886" v="1366" actId="20577"/>
      <pc:docMkLst>
        <pc:docMk/>
      </pc:docMkLst>
      <pc:sldChg chg="addSp delSp modSp mod addAnim delDesignElem modNotesTx">
        <pc:chgData name="Sofia Olsson" userId="e57304f8-51ed-4755-9aa3-554bc1d67766" providerId="ADAL" clId="{14E4CC88-8127-47D5-95E3-14F77B10D56C}" dt="2025-04-10T06:04:15.886" v="1366" actId="20577"/>
        <pc:sldMkLst>
          <pc:docMk/>
          <pc:sldMk cId="2056448716" sldId="256"/>
        </pc:sldMkLst>
        <pc:spChg chg="mod">
          <ac:chgData name="Sofia Olsson" userId="e57304f8-51ed-4755-9aa3-554bc1d67766" providerId="ADAL" clId="{14E4CC88-8127-47D5-95E3-14F77B10D56C}" dt="2025-04-06T06:04:31.530" v="1157" actId="26606"/>
          <ac:spMkLst>
            <pc:docMk/>
            <pc:sldMk cId="2056448716" sldId="256"/>
            <ac:spMk id="2" creationId="{75BEC049-4461-84E4-AAC0-AB7E858662FA}"/>
          </ac:spMkLst>
        </pc:spChg>
        <pc:spChg chg="mod">
          <ac:chgData name="Sofia Olsson" userId="e57304f8-51ed-4755-9aa3-554bc1d67766" providerId="ADAL" clId="{14E4CC88-8127-47D5-95E3-14F77B10D56C}" dt="2025-04-06T06:04:31.530" v="1157" actId="26606"/>
          <ac:spMkLst>
            <pc:docMk/>
            <pc:sldMk cId="2056448716" sldId="256"/>
            <ac:spMk id="3" creationId="{DAE9C6F5-BC6F-62E0-BA31-7C768471F6D0}"/>
          </ac:spMkLst>
        </pc:spChg>
        <pc:spChg chg="add">
          <ac:chgData name="Sofia Olsson" userId="e57304f8-51ed-4755-9aa3-554bc1d67766" providerId="ADAL" clId="{14E4CC88-8127-47D5-95E3-14F77B10D56C}" dt="2025-04-06T06:04:31.530" v="1157" actId="26606"/>
          <ac:spMkLst>
            <pc:docMk/>
            <pc:sldMk cId="2056448716" sldId="256"/>
            <ac:spMk id="1028" creationId="{FB5B0058-AF13-4859-B429-4EDDE2A26F7F}"/>
          </ac:spMkLst>
        </pc:spChg>
        <pc:spChg chg="add">
          <ac:chgData name="Sofia Olsson" userId="e57304f8-51ed-4755-9aa3-554bc1d67766" providerId="ADAL" clId="{14E4CC88-8127-47D5-95E3-14F77B10D56C}" dt="2025-04-06T06:04:31.530" v="1157" actId="26606"/>
          <ac:spMkLst>
            <pc:docMk/>
            <pc:sldMk cId="2056448716" sldId="256"/>
            <ac:spMk id="1029" creationId="{D84C2E9E-0B5D-4B5F-9A1F-70EBDCE39034}"/>
          </ac:spMkLst>
        </pc:spChg>
        <pc:picChg chg="mod">
          <ac:chgData name="Sofia Olsson" userId="e57304f8-51ed-4755-9aa3-554bc1d67766" providerId="ADAL" clId="{14E4CC88-8127-47D5-95E3-14F77B10D56C}" dt="2025-04-06T06:04:31.530" v="1157" actId="26606"/>
          <ac:picMkLst>
            <pc:docMk/>
            <pc:sldMk cId="2056448716" sldId="256"/>
            <ac:picMk id="1026" creationId="{AFDAF1D6-D78F-7784-E413-647BD7165FF8}"/>
          </ac:picMkLst>
        </pc:picChg>
      </pc:sldChg>
      <pc:sldChg chg="addSp delSp modSp mod delDesignElem">
        <pc:chgData name="Sofia Olsson" userId="e57304f8-51ed-4755-9aa3-554bc1d67766" providerId="ADAL" clId="{14E4CC88-8127-47D5-95E3-14F77B10D56C}" dt="2025-04-06T06:06:32.933" v="1175" actId="26606"/>
        <pc:sldMkLst>
          <pc:docMk/>
          <pc:sldMk cId="1689504707" sldId="258"/>
        </pc:sldMkLst>
        <pc:spChg chg="mod">
          <ac:chgData name="Sofia Olsson" userId="e57304f8-51ed-4755-9aa3-554bc1d67766" providerId="ADAL" clId="{14E4CC88-8127-47D5-95E3-14F77B10D56C}" dt="2025-04-06T06:06:32.933" v="1175" actId="26606"/>
          <ac:spMkLst>
            <pc:docMk/>
            <pc:sldMk cId="1689504707" sldId="258"/>
            <ac:spMk id="2" creationId="{960B9147-382C-1CA3-FA39-952CC7022FF7}"/>
          </ac:spMkLst>
        </pc:spChg>
        <pc:spChg chg="mod">
          <ac:chgData name="Sofia Olsson" userId="e57304f8-51ed-4755-9aa3-554bc1d67766" providerId="ADAL" clId="{14E4CC88-8127-47D5-95E3-14F77B10D56C}" dt="2025-04-06T06:06:32.933" v="1175" actId="26606"/>
          <ac:spMkLst>
            <pc:docMk/>
            <pc:sldMk cId="1689504707" sldId="258"/>
            <ac:spMk id="3" creationId="{CE6CCE79-5D6E-9A43-4C6B-C8DB8A18143B}"/>
          </ac:spMkLst>
        </pc:spChg>
        <pc:spChg chg="add">
          <ac:chgData name="Sofia Olsson" userId="e57304f8-51ed-4755-9aa3-554bc1d67766" providerId="ADAL" clId="{14E4CC88-8127-47D5-95E3-14F77B10D56C}" dt="2025-04-06T06:06:32.933" v="1175" actId="26606"/>
          <ac:spMkLst>
            <pc:docMk/>
            <pc:sldMk cId="1689504707" sldId="258"/>
            <ac:spMk id="5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32.933" v="1175" actId="26606"/>
          <ac:cxnSpMkLst>
            <pc:docMk/>
            <pc:sldMk cId="1689504707" sldId="258"/>
            <ac:cxnSpMk id="6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32.933" v="1175" actId="26606"/>
          <ac:cxnSpMkLst>
            <pc:docMk/>
            <pc:sldMk cId="1689504707" sldId="258"/>
            <ac:cxnSpMk id="7" creationId="{4AD7FFC6-42A9-49CB-B5E9-B3F6B038331B}"/>
          </ac:cxnSpMkLst>
        </pc:cxnChg>
      </pc:sldChg>
      <pc:sldChg chg="addSp delSp modSp mod delDesignElem">
        <pc:chgData name="Sofia Olsson" userId="e57304f8-51ed-4755-9aa3-554bc1d67766" providerId="ADAL" clId="{14E4CC88-8127-47D5-95E3-14F77B10D56C}" dt="2025-04-06T06:04:39.611" v="1160" actId="26606"/>
        <pc:sldMkLst>
          <pc:docMk/>
          <pc:sldMk cId="2502069117" sldId="259"/>
        </pc:sldMkLst>
        <pc:spChg chg="mod">
          <ac:chgData name="Sofia Olsson" userId="e57304f8-51ed-4755-9aa3-554bc1d67766" providerId="ADAL" clId="{14E4CC88-8127-47D5-95E3-14F77B10D56C}" dt="2025-04-06T06:04:39.611" v="1160" actId="26606"/>
          <ac:spMkLst>
            <pc:docMk/>
            <pc:sldMk cId="2502069117" sldId="259"/>
            <ac:spMk id="2" creationId="{7D8A54CA-9EB6-2B58-01ED-2D5069344EAB}"/>
          </ac:spMkLst>
        </pc:spChg>
        <pc:spChg chg="mod">
          <ac:chgData name="Sofia Olsson" userId="e57304f8-51ed-4755-9aa3-554bc1d67766" providerId="ADAL" clId="{14E4CC88-8127-47D5-95E3-14F77B10D56C}" dt="2025-04-06T06:04:39.611" v="1160" actId="26606"/>
          <ac:spMkLst>
            <pc:docMk/>
            <pc:sldMk cId="2502069117" sldId="259"/>
            <ac:spMk id="3" creationId="{3971144E-67AD-0260-44AF-9C30F6EC4E5C}"/>
          </ac:spMkLst>
        </pc:spChg>
        <pc:spChg chg="add">
          <ac:chgData name="Sofia Olsson" userId="e57304f8-51ed-4755-9aa3-554bc1d67766" providerId="ADAL" clId="{14E4CC88-8127-47D5-95E3-14F77B10D56C}" dt="2025-04-06T06:04:39.611" v="1160" actId="26606"/>
          <ac:spMkLst>
            <pc:docMk/>
            <pc:sldMk cId="2502069117" sldId="259"/>
            <ac:spMk id="9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4:39.611" v="1160" actId="26606"/>
          <ac:cxnSpMkLst>
            <pc:docMk/>
            <pc:sldMk cId="2502069117" sldId="259"/>
            <ac:cxnSpMk id="14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4:39.611" v="1160" actId="26606"/>
          <ac:cxnSpMkLst>
            <pc:docMk/>
            <pc:sldMk cId="2502069117" sldId="259"/>
            <ac:cxnSpMk id="16" creationId="{4AD7FFC6-42A9-49CB-B5E9-B3F6B038331B}"/>
          </ac:cxnSpMkLst>
        </pc:cxnChg>
      </pc:sldChg>
      <pc:sldChg chg="addSp delSp modSp mod delDesignElem">
        <pc:chgData name="Sofia Olsson" userId="e57304f8-51ed-4755-9aa3-554bc1d67766" providerId="ADAL" clId="{14E4CC88-8127-47D5-95E3-14F77B10D56C}" dt="2025-04-06T06:06:00.923" v="1171" actId="26606"/>
        <pc:sldMkLst>
          <pc:docMk/>
          <pc:sldMk cId="2629483249" sldId="261"/>
        </pc:sldMkLst>
        <pc:spChg chg="mod">
          <ac:chgData name="Sofia Olsson" userId="e57304f8-51ed-4755-9aa3-554bc1d67766" providerId="ADAL" clId="{14E4CC88-8127-47D5-95E3-14F77B10D56C}" dt="2025-04-06T06:06:00.923" v="1171" actId="26606"/>
          <ac:spMkLst>
            <pc:docMk/>
            <pc:sldMk cId="2629483249" sldId="261"/>
            <ac:spMk id="2" creationId="{219DA7C3-3FD0-FD60-6605-DE82347B12EC}"/>
          </ac:spMkLst>
        </pc:spChg>
        <pc:spChg chg="add">
          <ac:chgData name="Sofia Olsson" userId="e57304f8-51ed-4755-9aa3-554bc1d67766" providerId="ADAL" clId="{14E4CC88-8127-47D5-95E3-14F77B10D56C}" dt="2025-04-06T06:06:00.923" v="1171" actId="26606"/>
          <ac:spMkLst>
            <pc:docMk/>
            <pc:sldMk cId="2629483249" sldId="261"/>
            <ac:spMk id="17" creationId="{E8A8EAB8-D2FF-444D-B34B-7D32F106AD0E}"/>
          </ac:spMkLst>
        </pc:spChg>
        <pc:spChg chg="add">
          <ac:chgData name="Sofia Olsson" userId="e57304f8-51ed-4755-9aa3-554bc1d67766" providerId="ADAL" clId="{14E4CC88-8127-47D5-95E3-14F77B10D56C}" dt="2025-04-06T06:06:00.923" v="1171" actId="26606"/>
          <ac:spMkLst>
            <pc:docMk/>
            <pc:sldMk cId="2629483249" sldId="261"/>
            <ac:spMk id="20" creationId="{F46540CB-179A-9707-90BC-E8B93FC5A6E1}"/>
          </ac:spMkLst>
        </pc:spChg>
        <pc:cxnChg chg="add">
          <ac:chgData name="Sofia Olsson" userId="e57304f8-51ed-4755-9aa3-554bc1d67766" providerId="ADAL" clId="{14E4CC88-8127-47D5-95E3-14F77B10D56C}" dt="2025-04-06T06:06:00.923" v="1171" actId="26606"/>
          <ac:cxnSpMkLst>
            <pc:docMk/>
            <pc:sldMk cId="2629483249" sldId="261"/>
            <ac:cxnSpMk id="18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00.923" v="1171" actId="26606"/>
          <ac:cxnSpMkLst>
            <pc:docMk/>
            <pc:sldMk cId="2629483249" sldId="261"/>
            <ac:cxnSpMk id="19" creationId="{4AD7FFC6-42A9-49CB-B5E9-B3F6B038331B}"/>
          </ac:cxnSpMkLst>
        </pc:cxnChg>
      </pc:sldChg>
      <pc:sldChg chg="del">
        <pc:chgData name="Sofia Olsson" userId="e57304f8-51ed-4755-9aa3-554bc1d67766" providerId="ADAL" clId="{14E4CC88-8127-47D5-95E3-14F77B10D56C}" dt="2025-04-01T19:05:48.843" v="308" actId="2696"/>
        <pc:sldMkLst>
          <pc:docMk/>
          <pc:sldMk cId="160279609" sldId="262"/>
        </pc:sldMkLst>
      </pc:sldChg>
      <pc:sldChg chg="addSp delSp modSp mod delDesignElem modNotesTx">
        <pc:chgData name="Sofia Olsson" userId="e57304f8-51ed-4755-9aa3-554bc1d67766" providerId="ADAL" clId="{14E4CC88-8127-47D5-95E3-14F77B10D56C}" dt="2025-04-10T06:03:52.089" v="1364" actId="20577"/>
        <pc:sldMkLst>
          <pc:docMk/>
          <pc:sldMk cId="656306670" sldId="263"/>
        </pc:sldMkLst>
        <pc:spChg chg="mod">
          <ac:chgData name="Sofia Olsson" userId="e57304f8-51ed-4755-9aa3-554bc1d67766" providerId="ADAL" clId="{14E4CC88-8127-47D5-95E3-14F77B10D56C}" dt="2025-04-06T06:06:06.787" v="1172" actId="26606"/>
          <ac:spMkLst>
            <pc:docMk/>
            <pc:sldMk cId="656306670" sldId="263"/>
            <ac:spMk id="2" creationId="{2C6F27B9-766C-F427-F9DE-79EE67747BF3}"/>
          </ac:spMkLst>
        </pc:spChg>
        <pc:spChg chg="mod">
          <ac:chgData name="Sofia Olsson" userId="e57304f8-51ed-4755-9aa3-554bc1d67766" providerId="ADAL" clId="{14E4CC88-8127-47D5-95E3-14F77B10D56C}" dt="2025-04-06T06:33:49.696" v="1275" actId="14100"/>
          <ac:spMkLst>
            <pc:docMk/>
            <pc:sldMk cId="656306670" sldId="263"/>
            <ac:spMk id="3" creationId="{A0498356-C9F4-D481-6399-CC43134D41B5}"/>
          </ac:spMkLst>
        </pc:spChg>
        <pc:spChg chg="add">
          <ac:chgData name="Sofia Olsson" userId="e57304f8-51ed-4755-9aa3-554bc1d67766" providerId="ADAL" clId="{14E4CC88-8127-47D5-95E3-14F77B10D56C}" dt="2025-04-06T06:06:06.787" v="1172" actId="26606"/>
          <ac:spMkLst>
            <pc:docMk/>
            <pc:sldMk cId="656306670" sldId="263"/>
            <ac:spMk id="5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06.787" v="1172" actId="26606"/>
          <ac:cxnSpMkLst>
            <pc:docMk/>
            <pc:sldMk cId="656306670" sldId="263"/>
            <ac:cxnSpMk id="6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06.787" v="1172" actId="26606"/>
          <ac:cxnSpMkLst>
            <pc:docMk/>
            <pc:sldMk cId="656306670" sldId="263"/>
            <ac:cxnSpMk id="7" creationId="{4AD7FFC6-42A9-49CB-B5E9-B3F6B038331B}"/>
          </ac:cxnSpMkLst>
        </pc:cxnChg>
      </pc:sldChg>
      <pc:sldChg chg="addSp delSp modSp mod delDesignElem">
        <pc:chgData name="Sofia Olsson" userId="e57304f8-51ed-4755-9aa3-554bc1d67766" providerId="ADAL" clId="{14E4CC88-8127-47D5-95E3-14F77B10D56C}" dt="2025-04-06T06:06:39.558" v="1176" actId="26606"/>
        <pc:sldMkLst>
          <pc:docMk/>
          <pc:sldMk cId="249562881" sldId="264"/>
        </pc:sldMkLst>
        <pc:spChg chg="mod">
          <ac:chgData name="Sofia Olsson" userId="e57304f8-51ed-4755-9aa3-554bc1d67766" providerId="ADAL" clId="{14E4CC88-8127-47D5-95E3-14F77B10D56C}" dt="2025-04-06T06:06:39.558" v="1176" actId="26606"/>
          <ac:spMkLst>
            <pc:docMk/>
            <pc:sldMk cId="249562881" sldId="264"/>
            <ac:spMk id="2" creationId="{705A3D2A-FE48-D17C-B8EF-019BA5EE3B35}"/>
          </ac:spMkLst>
        </pc:spChg>
        <pc:spChg chg="mod">
          <ac:chgData name="Sofia Olsson" userId="e57304f8-51ed-4755-9aa3-554bc1d67766" providerId="ADAL" clId="{14E4CC88-8127-47D5-95E3-14F77B10D56C}" dt="2025-04-06T06:06:39.558" v="1176" actId="26606"/>
          <ac:spMkLst>
            <pc:docMk/>
            <pc:sldMk cId="249562881" sldId="264"/>
            <ac:spMk id="3" creationId="{AE14A90C-6EDD-A02D-837A-86724D2402A2}"/>
          </ac:spMkLst>
        </pc:spChg>
        <pc:spChg chg="add">
          <ac:chgData name="Sofia Olsson" userId="e57304f8-51ed-4755-9aa3-554bc1d67766" providerId="ADAL" clId="{14E4CC88-8127-47D5-95E3-14F77B10D56C}" dt="2025-04-06T06:06:39.558" v="1176" actId="26606"/>
          <ac:spMkLst>
            <pc:docMk/>
            <pc:sldMk cId="249562881" sldId="264"/>
            <ac:spMk id="5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39.558" v="1176" actId="26606"/>
          <ac:cxnSpMkLst>
            <pc:docMk/>
            <pc:sldMk cId="249562881" sldId="264"/>
            <ac:cxnSpMk id="6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39.558" v="1176" actId="26606"/>
          <ac:cxnSpMkLst>
            <pc:docMk/>
            <pc:sldMk cId="249562881" sldId="264"/>
            <ac:cxnSpMk id="7" creationId="{4AD7FFC6-42A9-49CB-B5E9-B3F6B038331B}"/>
          </ac:cxnSpMkLst>
        </pc:cxnChg>
      </pc:sldChg>
      <pc:sldChg chg="del modNotesTx">
        <pc:chgData name="Sofia Olsson" userId="e57304f8-51ed-4755-9aa3-554bc1d67766" providerId="ADAL" clId="{14E4CC88-8127-47D5-95E3-14F77B10D56C}" dt="2025-04-01T19:09:41.699" v="391" actId="2696"/>
        <pc:sldMkLst>
          <pc:docMk/>
          <pc:sldMk cId="3652382634" sldId="267"/>
        </pc:sldMkLst>
      </pc:sldChg>
      <pc:sldChg chg="addSp delSp modSp mod ord delDesignElem">
        <pc:chgData name="Sofia Olsson" userId="e57304f8-51ed-4755-9aa3-554bc1d67766" providerId="ADAL" clId="{14E4CC88-8127-47D5-95E3-14F77B10D56C}" dt="2025-04-06T06:06:44.200" v="1177" actId="26606"/>
        <pc:sldMkLst>
          <pc:docMk/>
          <pc:sldMk cId="1010672319" sldId="268"/>
        </pc:sldMkLst>
        <pc:spChg chg="mod">
          <ac:chgData name="Sofia Olsson" userId="e57304f8-51ed-4755-9aa3-554bc1d67766" providerId="ADAL" clId="{14E4CC88-8127-47D5-95E3-14F77B10D56C}" dt="2025-04-06T06:06:44.200" v="1177" actId="26606"/>
          <ac:spMkLst>
            <pc:docMk/>
            <pc:sldMk cId="1010672319" sldId="268"/>
            <ac:spMk id="2" creationId="{3859C886-1811-1860-6200-1C7ADCC97815}"/>
          </ac:spMkLst>
        </pc:spChg>
        <pc:spChg chg="mod">
          <ac:chgData name="Sofia Olsson" userId="e57304f8-51ed-4755-9aa3-554bc1d67766" providerId="ADAL" clId="{14E4CC88-8127-47D5-95E3-14F77B10D56C}" dt="2025-04-06T06:06:44.200" v="1177" actId="26606"/>
          <ac:spMkLst>
            <pc:docMk/>
            <pc:sldMk cId="1010672319" sldId="268"/>
            <ac:spMk id="3" creationId="{30C43311-FF7B-A1BA-8FCD-CD6A62A9D330}"/>
          </ac:spMkLst>
        </pc:spChg>
        <pc:spChg chg="add">
          <ac:chgData name="Sofia Olsson" userId="e57304f8-51ed-4755-9aa3-554bc1d67766" providerId="ADAL" clId="{14E4CC88-8127-47D5-95E3-14F77B10D56C}" dt="2025-04-06T06:06:44.200" v="1177" actId="26606"/>
          <ac:spMkLst>
            <pc:docMk/>
            <pc:sldMk cId="1010672319" sldId="268"/>
            <ac:spMk id="5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44.200" v="1177" actId="26606"/>
          <ac:cxnSpMkLst>
            <pc:docMk/>
            <pc:sldMk cId="1010672319" sldId="268"/>
            <ac:cxnSpMk id="6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44.200" v="1177" actId="26606"/>
          <ac:cxnSpMkLst>
            <pc:docMk/>
            <pc:sldMk cId="1010672319" sldId="268"/>
            <ac:cxnSpMk id="7" creationId="{4AD7FFC6-42A9-49CB-B5E9-B3F6B038331B}"/>
          </ac:cxnSpMkLst>
        </pc:cxnChg>
      </pc:sldChg>
      <pc:sldChg chg="addSp delSp modSp mod delDesignElem">
        <pc:chgData name="Sofia Olsson" userId="e57304f8-51ed-4755-9aa3-554bc1d67766" providerId="ADAL" clId="{14E4CC88-8127-47D5-95E3-14F77B10D56C}" dt="2025-04-06T06:06:49.921" v="1178" actId="26606"/>
        <pc:sldMkLst>
          <pc:docMk/>
          <pc:sldMk cId="2821380086" sldId="269"/>
        </pc:sldMkLst>
        <pc:spChg chg="mod">
          <ac:chgData name="Sofia Olsson" userId="e57304f8-51ed-4755-9aa3-554bc1d67766" providerId="ADAL" clId="{14E4CC88-8127-47D5-95E3-14F77B10D56C}" dt="2025-04-06T06:06:49.921" v="1178" actId="26606"/>
          <ac:spMkLst>
            <pc:docMk/>
            <pc:sldMk cId="2821380086" sldId="269"/>
            <ac:spMk id="2" creationId="{F1AC8EB0-0A57-3EBC-92F8-5C81806F4F52}"/>
          </ac:spMkLst>
        </pc:spChg>
        <pc:spChg chg="mod">
          <ac:chgData name="Sofia Olsson" userId="e57304f8-51ed-4755-9aa3-554bc1d67766" providerId="ADAL" clId="{14E4CC88-8127-47D5-95E3-14F77B10D56C}" dt="2025-04-06T06:06:49.921" v="1178" actId="26606"/>
          <ac:spMkLst>
            <pc:docMk/>
            <pc:sldMk cId="2821380086" sldId="269"/>
            <ac:spMk id="3" creationId="{0EE4E50D-C214-1DB3-C0E9-4C234C74DEC6}"/>
          </ac:spMkLst>
        </pc:spChg>
        <pc:spChg chg="add">
          <ac:chgData name="Sofia Olsson" userId="e57304f8-51ed-4755-9aa3-554bc1d67766" providerId="ADAL" clId="{14E4CC88-8127-47D5-95E3-14F77B10D56C}" dt="2025-04-06T06:06:49.921" v="1178" actId="26606"/>
          <ac:spMkLst>
            <pc:docMk/>
            <pc:sldMk cId="2821380086" sldId="269"/>
            <ac:spMk id="5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49.921" v="1178" actId="26606"/>
          <ac:cxnSpMkLst>
            <pc:docMk/>
            <pc:sldMk cId="2821380086" sldId="269"/>
            <ac:cxnSpMk id="6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49.921" v="1178" actId="26606"/>
          <ac:cxnSpMkLst>
            <pc:docMk/>
            <pc:sldMk cId="2821380086" sldId="269"/>
            <ac:cxnSpMk id="7" creationId="{4AD7FFC6-42A9-49CB-B5E9-B3F6B038331B}"/>
          </ac:cxnSpMkLst>
        </pc:cxnChg>
      </pc:sldChg>
      <pc:sldChg chg="delSp delDesignElem">
        <pc:chgData name="Sofia Olsson" userId="e57304f8-51ed-4755-9aa3-554bc1d67766" providerId="ADAL" clId="{14E4CC88-8127-47D5-95E3-14F77B10D56C}" dt="2025-04-06T06:04:01.285" v="1154"/>
        <pc:sldMkLst>
          <pc:docMk/>
          <pc:sldMk cId="503182506" sldId="272"/>
        </pc:sldMkLst>
      </pc:sldChg>
      <pc:sldChg chg="addSp delSp modSp mod setBg setClrOvrMap delDesignElem">
        <pc:chgData name="Sofia Olsson" userId="e57304f8-51ed-4755-9aa3-554bc1d67766" providerId="ADAL" clId="{14E4CC88-8127-47D5-95E3-14F77B10D56C}" dt="2025-04-06T06:07:05.541" v="1181" actId="26606"/>
        <pc:sldMkLst>
          <pc:docMk/>
          <pc:sldMk cId="357931959" sldId="273"/>
        </pc:sldMkLst>
        <pc:spChg chg="mod">
          <ac:chgData name="Sofia Olsson" userId="e57304f8-51ed-4755-9aa3-554bc1d67766" providerId="ADAL" clId="{14E4CC88-8127-47D5-95E3-14F77B10D56C}" dt="2025-04-06T06:07:05.541" v="1181" actId="26606"/>
          <ac:spMkLst>
            <pc:docMk/>
            <pc:sldMk cId="357931959" sldId="273"/>
            <ac:spMk id="2" creationId="{CE2AF3A4-C847-64B4-CD14-4865D3A3BD70}"/>
          </ac:spMkLst>
        </pc:spChg>
        <pc:spChg chg="add">
          <ac:chgData name="Sofia Olsson" userId="e57304f8-51ed-4755-9aa3-554bc1d67766" providerId="ADAL" clId="{14E4CC88-8127-47D5-95E3-14F77B10D56C}" dt="2025-04-06T06:07:05.541" v="1181" actId="26606"/>
          <ac:spMkLst>
            <pc:docMk/>
            <pc:sldMk cId="357931959" sldId="273"/>
            <ac:spMk id="7" creationId="{FB5B0058-AF13-4859-B429-4EDDE2A26F7F}"/>
          </ac:spMkLst>
        </pc:spChg>
        <pc:cxnChg chg="add">
          <ac:chgData name="Sofia Olsson" userId="e57304f8-51ed-4755-9aa3-554bc1d67766" providerId="ADAL" clId="{14E4CC88-8127-47D5-95E3-14F77B10D56C}" dt="2025-04-06T06:07:05.541" v="1181" actId="26606"/>
          <ac:cxnSpMkLst>
            <pc:docMk/>
            <pc:sldMk cId="357931959" sldId="273"/>
            <ac:cxnSpMk id="9" creationId="{EC4521DE-248E-440D-AAD6-FD9E7D34B3BF}"/>
          </ac:cxnSpMkLst>
        </pc:cxnChg>
        <pc:cxnChg chg="add">
          <ac:chgData name="Sofia Olsson" userId="e57304f8-51ed-4755-9aa3-554bc1d67766" providerId="ADAL" clId="{14E4CC88-8127-47D5-95E3-14F77B10D56C}" dt="2025-04-06T06:07:05.541" v="1181" actId="26606"/>
          <ac:cxnSpMkLst>
            <pc:docMk/>
            <pc:sldMk cId="357931959" sldId="273"/>
            <ac:cxnSpMk id="11" creationId="{442C13FA-4C0F-42D0-9626-5BA6040D8C31}"/>
          </ac:cxnSpMkLst>
        </pc:cxnChg>
      </pc:sldChg>
      <pc:sldChg chg="addSp delSp modSp mod delDesignElem modNotesTx">
        <pc:chgData name="Sofia Olsson" userId="e57304f8-51ed-4755-9aa3-554bc1d67766" providerId="ADAL" clId="{14E4CC88-8127-47D5-95E3-14F77B10D56C}" dt="2025-04-06T06:04:45.360" v="1161" actId="26606"/>
        <pc:sldMkLst>
          <pc:docMk/>
          <pc:sldMk cId="751325204" sldId="278"/>
        </pc:sldMkLst>
        <pc:spChg chg="mod">
          <ac:chgData name="Sofia Olsson" userId="e57304f8-51ed-4755-9aa3-554bc1d67766" providerId="ADAL" clId="{14E4CC88-8127-47D5-95E3-14F77B10D56C}" dt="2025-04-06T06:04:45.360" v="1161" actId="26606"/>
          <ac:spMkLst>
            <pc:docMk/>
            <pc:sldMk cId="751325204" sldId="278"/>
            <ac:spMk id="2" creationId="{BAE9E5B3-B252-7872-AD70-32334BED2894}"/>
          </ac:spMkLst>
        </pc:spChg>
        <pc:spChg chg="mod">
          <ac:chgData name="Sofia Olsson" userId="e57304f8-51ed-4755-9aa3-554bc1d67766" providerId="ADAL" clId="{14E4CC88-8127-47D5-95E3-14F77B10D56C}" dt="2025-04-06T06:04:45.360" v="1161" actId="26606"/>
          <ac:spMkLst>
            <pc:docMk/>
            <pc:sldMk cId="751325204" sldId="278"/>
            <ac:spMk id="3" creationId="{416D177C-DBD4-9FFD-D723-46FB9A657DE7}"/>
          </ac:spMkLst>
        </pc:spChg>
        <pc:spChg chg="add">
          <ac:chgData name="Sofia Olsson" userId="e57304f8-51ed-4755-9aa3-554bc1d67766" providerId="ADAL" clId="{14E4CC88-8127-47D5-95E3-14F77B10D56C}" dt="2025-04-06T06:04:45.360" v="1161" actId="26606"/>
          <ac:spMkLst>
            <pc:docMk/>
            <pc:sldMk cId="751325204" sldId="278"/>
            <ac:spMk id="9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4:45.360" v="1161" actId="26606"/>
          <ac:cxnSpMkLst>
            <pc:docMk/>
            <pc:sldMk cId="751325204" sldId="278"/>
            <ac:cxnSpMk id="14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4:45.360" v="1161" actId="26606"/>
          <ac:cxnSpMkLst>
            <pc:docMk/>
            <pc:sldMk cId="751325204" sldId="278"/>
            <ac:cxnSpMk id="16" creationId="{4AD7FFC6-42A9-49CB-B5E9-B3F6B038331B}"/>
          </ac:cxnSpMkLst>
        </pc:cxnChg>
      </pc:sldChg>
      <pc:sldChg chg="addSp modSp del mod setBg addAnim delDesignElem">
        <pc:chgData name="Sofia Olsson" userId="e57304f8-51ed-4755-9aa3-554bc1d67766" providerId="ADAL" clId="{14E4CC88-8127-47D5-95E3-14F77B10D56C}" dt="2025-04-06T06:06:55.985" v="1180"/>
        <pc:sldMkLst>
          <pc:docMk/>
          <pc:sldMk cId="2906991384" sldId="281"/>
        </pc:sldMkLst>
        <pc:spChg chg="mod">
          <ac:chgData name="Sofia Olsson" userId="e57304f8-51ed-4755-9aa3-554bc1d67766" providerId="ADAL" clId="{14E4CC88-8127-47D5-95E3-14F77B10D56C}" dt="2025-04-06T06:06:55.984" v="1179" actId="26606"/>
          <ac:spMkLst>
            <pc:docMk/>
            <pc:sldMk cId="2906991384" sldId="281"/>
            <ac:spMk id="2" creationId="{07C77679-DAE6-89C6-AC63-FCE180B14882}"/>
          </ac:spMkLst>
        </pc:spChg>
        <pc:spChg chg="mod">
          <ac:chgData name="Sofia Olsson" userId="e57304f8-51ed-4755-9aa3-554bc1d67766" providerId="ADAL" clId="{14E4CC88-8127-47D5-95E3-14F77B10D56C}" dt="2025-04-06T06:06:55.984" v="1179" actId="26606"/>
          <ac:spMkLst>
            <pc:docMk/>
            <pc:sldMk cId="2906991384" sldId="281"/>
            <ac:spMk id="3" creationId="{D952C3AE-4706-811D-9E1B-21A855C0FF50}"/>
          </ac:spMkLst>
        </pc:spChg>
        <pc:spChg chg="add">
          <ac:chgData name="Sofia Olsson" userId="e57304f8-51ed-4755-9aa3-554bc1d67766" providerId="ADAL" clId="{14E4CC88-8127-47D5-95E3-14F77B10D56C}" dt="2025-04-06T06:06:55.984" v="1179" actId="26606"/>
          <ac:spMkLst>
            <pc:docMk/>
            <pc:sldMk cId="2906991384" sldId="281"/>
            <ac:spMk id="8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55.984" v="1179" actId="26606"/>
          <ac:cxnSpMkLst>
            <pc:docMk/>
            <pc:sldMk cId="2906991384" sldId="281"/>
            <ac:cxnSpMk id="10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55.984" v="1179" actId="26606"/>
          <ac:cxnSpMkLst>
            <pc:docMk/>
            <pc:sldMk cId="2906991384" sldId="281"/>
            <ac:cxnSpMk id="12" creationId="{4AD7FFC6-42A9-49CB-B5E9-B3F6B038331B}"/>
          </ac:cxnSpMkLst>
        </pc:cxnChg>
      </pc:sldChg>
      <pc:sldChg chg="del">
        <pc:chgData name="Sofia Olsson" userId="e57304f8-51ed-4755-9aa3-554bc1d67766" providerId="ADAL" clId="{14E4CC88-8127-47D5-95E3-14F77B10D56C}" dt="2025-04-01T19:05:54.072" v="309" actId="2696"/>
        <pc:sldMkLst>
          <pc:docMk/>
          <pc:sldMk cId="2585229670" sldId="283"/>
        </pc:sldMkLst>
      </pc:sldChg>
      <pc:sldChg chg="modSp del mod">
        <pc:chgData name="Sofia Olsson" userId="e57304f8-51ed-4755-9aa3-554bc1d67766" providerId="ADAL" clId="{14E4CC88-8127-47D5-95E3-14F77B10D56C}" dt="2025-04-01T18:58:53.328" v="258" actId="2696"/>
        <pc:sldMkLst>
          <pc:docMk/>
          <pc:sldMk cId="1355982425" sldId="284"/>
        </pc:sldMkLst>
      </pc:sldChg>
      <pc:sldChg chg="delSp modSp del mod delDesignElem">
        <pc:chgData name="Sofia Olsson" userId="e57304f8-51ed-4755-9aa3-554bc1d67766" providerId="ADAL" clId="{14E4CC88-8127-47D5-95E3-14F77B10D56C}" dt="2025-04-06T06:08:50.407" v="1211" actId="2696"/>
        <pc:sldMkLst>
          <pc:docMk/>
          <pc:sldMk cId="2733947508" sldId="285"/>
        </pc:sldMkLst>
      </pc:sldChg>
      <pc:sldChg chg="delSp modSp del mod ord delDesignElem">
        <pc:chgData name="Sofia Olsson" userId="e57304f8-51ed-4755-9aa3-554bc1d67766" providerId="ADAL" clId="{14E4CC88-8127-47D5-95E3-14F77B10D56C}" dt="2025-04-06T06:10:37.231" v="1240" actId="2696"/>
        <pc:sldMkLst>
          <pc:docMk/>
          <pc:sldMk cId="219284678" sldId="287"/>
        </pc:sldMkLst>
      </pc:sldChg>
      <pc:sldChg chg="addSp modSp new mod ord setBg addAnim">
        <pc:chgData name="Sofia Olsson" userId="e57304f8-51ed-4755-9aa3-554bc1d67766" providerId="ADAL" clId="{14E4CC88-8127-47D5-95E3-14F77B10D56C}" dt="2025-04-06T06:06:28.323" v="1174"/>
        <pc:sldMkLst>
          <pc:docMk/>
          <pc:sldMk cId="340989332" sldId="288"/>
        </pc:sldMkLst>
        <pc:spChg chg="mod">
          <ac:chgData name="Sofia Olsson" userId="e57304f8-51ed-4755-9aa3-554bc1d67766" providerId="ADAL" clId="{14E4CC88-8127-47D5-95E3-14F77B10D56C}" dt="2025-04-06T06:06:28.321" v="1173" actId="26606"/>
          <ac:spMkLst>
            <pc:docMk/>
            <pc:sldMk cId="340989332" sldId="288"/>
            <ac:spMk id="2" creationId="{43BC5407-A44E-2426-DC4C-E9842F42B180}"/>
          </ac:spMkLst>
        </pc:spChg>
        <pc:spChg chg="mod">
          <ac:chgData name="Sofia Olsson" userId="e57304f8-51ed-4755-9aa3-554bc1d67766" providerId="ADAL" clId="{14E4CC88-8127-47D5-95E3-14F77B10D56C}" dt="2025-04-06T06:06:28.321" v="1173" actId="26606"/>
          <ac:spMkLst>
            <pc:docMk/>
            <pc:sldMk cId="340989332" sldId="288"/>
            <ac:spMk id="3" creationId="{9A5052A0-9FFA-2AF6-0C0D-AA714F4231BF}"/>
          </ac:spMkLst>
        </pc:spChg>
        <pc:spChg chg="add">
          <ac:chgData name="Sofia Olsson" userId="e57304f8-51ed-4755-9aa3-554bc1d67766" providerId="ADAL" clId="{14E4CC88-8127-47D5-95E3-14F77B10D56C}" dt="2025-04-06T06:06:28.321" v="1173" actId="26606"/>
          <ac:spMkLst>
            <pc:docMk/>
            <pc:sldMk cId="340989332" sldId="288"/>
            <ac:spMk id="8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6:28.321" v="1173" actId="26606"/>
          <ac:cxnSpMkLst>
            <pc:docMk/>
            <pc:sldMk cId="340989332" sldId="288"/>
            <ac:cxnSpMk id="10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6:28.321" v="1173" actId="26606"/>
          <ac:cxnSpMkLst>
            <pc:docMk/>
            <pc:sldMk cId="340989332" sldId="288"/>
            <ac:cxnSpMk id="12" creationId="{4AD7FFC6-42A9-49CB-B5E9-B3F6B038331B}"/>
          </ac:cxnSpMkLst>
        </pc:cxnChg>
      </pc:sldChg>
      <pc:sldChg chg="del">
        <pc:chgData name="Sofia Olsson" userId="e57304f8-51ed-4755-9aa3-554bc1d67766" providerId="ADAL" clId="{14E4CC88-8127-47D5-95E3-14F77B10D56C}" dt="2025-04-01T19:05:44.806" v="307" actId="2696"/>
        <pc:sldMkLst>
          <pc:docMk/>
          <pc:sldMk cId="3053069520" sldId="288"/>
        </pc:sldMkLst>
      </pc:sldChg>
      <pc:sldChg chg="del">
        <pc:chgData name="Sofia Olsson" userId="e57304f8-51ed-4755-9aa3-554bc1d67766" providerId="ADAL" clId="{14E4CC88-8127-47D5-95E3-14F77B10D56C}" dt="2025-04-01T18:59:05.696" v="259" actId="2696"/>
        <pc:sldMkLst>
          <pc:docMk/>
          <pc:sldMk cId="729481423" sldId="289"/>
        </pc:sldMkLst>
      </pc:sldChg>
      <pc:sldChg chg="addSp delSp modSp new mod setBg">
        <pc:chgData name="Sofia Olsson" userId="e57304f8-51ed-4755-9aa3-554bc1d67766" providerId="ADAL" clId="{14E4CC88-8127-47D5-95E3-14F77B10D56C}" dt="2025-04-06T06:17:03.945" v="1253" actId="255"/>
        <pc:sldMkLst>
          <pc:docMk/>
          <pc:sldMk cId="3473858298" sldId="289"/>
        </pc:sldMkLst>
        <pc:spChg chg="add mod">
          <ac:chgData name="Sofia Olsson" userId="e57304f8-51ed-4755-9aa3-554bc1d67766" providerId="ADAL" clId="{14E4CC88-8127-47D5-95E3-14F77B10D56C}" dt="2025-04-06T06:17:03.945" v="1253" actId="255"/>
          <ac:spMkLst>
            <pc:docMk/>
            <pc:sldMk cId="3473858298" sldId="289"/>
            <ac:spMk id="5" creationId="{F5B5079C-FEA1-CB1F-6B0D-9E59C768DE3A}"/>
          </ac:spMkLst>
        </pc:spChg>
        <pc:spChg chg="add mod">
          <ac:chgData name="Sofia Olsson" userId="e57304f8-51ed-4755-9aa3-554bc1d67766" providerId="ADAL" clId="{14E4CC88-8127-47D5-95E3-14F77B10D56C}" dt="2025-04-06T06:16:23.327" v="1249" actId="14100"/>
          <ac:spMkLst>
            <pc:docMk/>
            <pc:sldMk cId="3473858298" sldId="289"/>
            <ac:spMk id="7" creationId="{F636E192-F40B-8B0A-AF95-F0F86B2071CE}"/>
          </ac:spMkLst>
        </pc:spChg>
        <pc:spChg chg="add">
          <ac:chgData name="Sofia Olsson" userId="e57304f8-51ed-4755-9aa3-554bc1d67766" providerId="ADAL" clId="{14E4CC88-8127-47D5-95E3-14F77B10D56C}" dt="2025-04-06T06:05:20.458" v="1164" actId="26606"/>
          <ac:spMkLst>
            <pc:docMk/>
            <pc:sldMk cId="3473858298" sldId="289"/>
            <ac:spMk id="16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5:20.458" v="1164" actId="26606"/>
          <ac:cxnSpMkLst>
            <pc:docMk/>
            <pc:sldMk cId="3473858298" sldId="289"/>
            <ac:cxnSpMk id="17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5:20.458" v="1164" actId="26606"/>
          <ac:cxnSpMkLst>
            <pc:docMk/>
            <pc:sldMk cId="3473858298" sldId="289"/>
            <ac:cxnSpMk id="18" creationId="{4AD7FFC6-42A9-49CB-B5E9-B3F6B038331B}"/>
          </ac:cxnSpMkLst>
        </pc:cxnChg>
      </pc:sldChg>
      <pc:sldChg chg="addSp modSp new mod setBg">
        <pc:chgData name="Sofia Olsson" userId="e57304f8-51ed-4755-9aa3-554bc1d67766" providerId="ADAL" clId="{14E4CC88-8127-47D5-95E3-14F77B10D56C}" dt="2025-04-06T06:05:38.777" v="1165" actId="26606"/>
        <pc:sldMkLst>
          <pc:docMk/>
          <pc:sldMk cId="1030760658" sldId="290"/>
        </pc:sldMkLst>
        <pc:spChg chg="mod">
          <ac:chgData name="Sofia Olsson" userId="e57304f8-51ed-4755-9aa3-554bc1d67766" providerId="ADAL" clId="{14E4CC88-8127-47D5-95E3-14F77B10D56C}" dt="2025-04-06T06:05:38.777" v="1165" actId="26606"/>
          <ac:spMkLst>
            <pc:docMk/>
            <pc:sldMk cId="1030760658" sldId="290"/>
            <ac:spMk id="2" creationId="{4A39E221-BD44-C110-8571-4D081C210005}"/>
          </ac:spMkLst>
        </pc:spChg>
        <pc:spChg chg="mod">
          <ac:chgData name="Sofia Olsson" userId="e57304f8-51ed-4755-9aa3-554bc1d67766" providerId="ADAL" clId="{14E4CC88-8127-47D5-95E3-14F77B10D56C}" dt="2025-04-06T06:05:38.777" v="1165" actId="26606"/>
          <ac:spMkLst>
            <pc:docMk/>
            <pc:sldMk cId="1030760658" sldId="290"/>
            <ac:spMk id="3" creationId="{A9F6E0C8-E0DC-899F-2F59-8BA1E447808E}"/>
          </ac:spMkLst>
        </pc:spChg>
        <pc:spChg chg="add">
          <ac:chgData name="Sofia Olsson" userId="e57304f8-51ed-4755-9aa3-554bc1d67766" providerId="ADAL" clId="{14E4CC88-8127-47D5-95E3-14F77B10D56C}" dt="2025-04-06T06:05:38.777" v="1165" actId="26606"/>
          <ac:spMkLst>
            <pc:docMk/>
            <pc:sldMk cId="1030760658" sldId="290"/>
            <ac:spMk id="8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5:38.777" v="1165" actId="26606"/>
          <ac:cxnSpMkLst>
            <pc:docMk/>
            <pc:sldMk cId="1030760658" sldId="290"/>
            <ac:cxnSpMk id="10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5:38.777" v="1165" actId="26606"/>
          <ac:cxnSpMkLst>
            <pc:docMk/>
            <pc:sldMk cId="1030760658" sldId="290"/>
            <ac:cxnSpMk id="12" creationId="{4AD7FFC6-42A9-49CB-B5E9-B3F6B038331B}"/>
          </ac:cxnSpMkLst>
        </pc:cxnChg>
      </pc:sldChg>
      <pc:sldChg chg="addSp modSp new mod setBg">
        <pc:chgData name="Sofia Olsson" userId="e57304f8-51ed-4755-9aa3-554bc1d67766" providerId="ADAL" clId="{14E4CC88-8127-47D5-95E3-14F77B10D56C}" dt="2025-04-06T06:05:44.543" v="1166" actId="26606"/>
        <pc:sldMkLst>
          <pc:docMk/>
          <pc:sldMk cId="1099808931" sldId="291"/>
        </pc:sldMkLst>
        <pc:spChg chg="mod">
          <ac:chgData name="Sofia Olsson" userId="e57304f8-51ed-4755-9aa3-554bc1d67766" providerId="ADAL" clId="{14E4CC88-8127-47D5-95E3-14F77B10D56C}" dt="2025-04-06T06:05:44.543" v="1166" actId="26606"/>
          <ac:spMkLst>
            <pc:docMk/>
            <pc:sldMk cId="1099808931" sldId="291"/>
            <ac:spMk id="2" creationId="{7EB11E17-108A-EE7E-7997-0E1AEC87A3FA}"/>
          </ac:spMkLst>
        </pc:spChg>
        <pc:spChg chg="mod">
          <ac:chgData name="Sofia Olsson" userId="e57304f8-51ed-4755-9aa3-554bc1d67766" providerId="ADAL" clId="{14E4CC88-8127-47D5-95E3-14F77B10D56C}" dt="2025-04-06T06:05:44.543" v="1166" actId="26606"/>
          <ac:spMkLst>
            <pc:docMk/>
            <pc:sldMk cId="1099808931" sldId="291"/>
            <ac:spMk id="3" creationId="{A5193D41-4F19-6999-E59E-97FF2947214E}"/>
          </ac:spMkLst>
        </pc:spChg>
        <pc:spChg chg="add">
          <ac:chgData name="Sofia Olsson" userId="e57304f8-51ed-4755-9aa3-554bc1d67766" providerId="ADAL" clId="{14E4CC88-8127-47D5-95E3-14F77B10D56C}" dt="2025-04-06T06:05:44.543" v="1166" actId="26606"/>
          <ac:spMkLst>
            <pc:docMk/>
            <pc:sldMk cId="1099808931" sldId="291"/>
            <ac:spMk id="8" creationId="{E8A8EAB8-D2FF-444D-B34B-7D32F106AD0E}"/>
          </ac:spMkLst>
        </pc:spChg>
        <pc:cxnChg chg="add">
          <ac:chgData name="Sofia Olsson" userId="e57304f8-51ed-4755-9aa3-554bc1d67766" providerId="ADAL" clId="{14E4CC88-8127-47D5-95E3-14F77B10D56C}" dt="2025-04-06T06:05:44.543" v="1166" actId="26606"/>
          <ac:cxnSpMkLst>
            <pc:docMk/>
            <pc:sldMk cId="1099808931" sldId="291"/>
            <ac:cxnSpMk id="10" creationId="{067633D1-6EE6-4118-B9F0-B363477BEE7A}"/>
          </ac:cxnSpMkLst>
        </pc:cxnChg>
        <pc:cxnChg chg="add">
          <ac:chgData name="Sofia Olsson" userId="e57304f8-51ed-4755-9aa3-554bc1d67766" providerId="ADAL" clId="{14E4CC88-8127-47D5-95E3-14F77B10D56C}" dt="2025-04-06T06:05:44.543" v="1166" actId="26606"/>
          <ac:cxnSpMkLst>
            <pc:docMk/>
            <pc:sldMk cId="1099808931" sldId="291"/>
            <ac:cxnSpMk id="12" creationId="{4AD7FFC6-42A9-49CB-B5E9-B3F6B038331B}"/>
          </ac:cxnSpMkLst>
        </pc:cxnChg>
      </pc:sldChg>
      <pc:sldChg chg="modSp add mod">
        <pc:chgData name="Sofia Olsson" userId="e57304f8-51ed-4755-9aa3-554bc1d67766" providerId="ADAL" clId="{14E4CC88-8127-47D5-95E3-14F77B10D56C}" dt="2025-04-06T06:08:39.836" v="1210" actId="207"/>
        <pc:sldMkLst>
          <pc:docMk/>
          <pc:sldMk cId="2370593351" sldId="292"/>
        </pc:sldMkLst>
        <pc:spChg chg="mod">
          <ac:chgData name="Sofia Olsson" userId="e57304f8-51ed-4755-9aa3-554bc1d67766" providerId="ADAL" clId="{14E4CC88-8127-47D5-95E3-14F77B10D56C}" dt="2025-04-06T06:08:24.050" v="1209" actId="14100"/>
          <ac:spMkLst>
            <pc:docMk/>
            <pc:sldMk cId="2370593351" sldId="292"/>
            <ac:spMk id="2" creationId="{89EBCFDB-5F6B-2317-D251-E84D32CAA13C}"/>
          </ac:spMkLst>
        </pc:spChg>
        <pc:spChg chg="mod">
          <ac:chgData name="Sofia Olsson" userId="e57304f8-51ed-4755-9aa3-554bc1d67766" providerId="ADAL" clId="{14E4CC88-8127-47D5-95E3-14F77B10D56C}" dt="2025-04-06T06:08:39.836" v="1210" actId="207"/>
          <ac:spMkLst>
            <pc:docMk/>
            <pc:sldMk cId="2370593351" sldId="292"/>
            <ac:spMk id="3" creationId="{D6CD021E-8906-DA13-90E3-FD819668F775}"/>
          </ac:spMkLst>
        </pc:spChg>
      </pc:sldChg>
      <pc:sldChg chg="modSp add mod modAnim">
        <pc:chgData name="Sofia Olsson" userId="e57304f8-51ed-4755-9aa3-554bc1d67766" providerId="ADAL" clId="{14E4CC88-8127-47D5-95E3-14F77B10D56C}" dt="2025-04-06T06:10:13.702" v="1237" actId="207"/>
        <pc:sldMkLst>
          <pc:docMk/>
          <pc:sldMk cId="1421806400" sldId="293"/>
        </pc:sldMkLst>
        <pc:spChg chg="mod">
          <ac:chgData name="Sofia Olsson" userId="e57304f8-51ed-4755-9aa3-554bc1d67766" providerId="ADAL" clId="{14E4CC88-8127-47D5-95E3-14F77B10D56C}" dt="2025-04-06T06:09:25.401" v="1234" actId="20577"/>
          <ac:spMkLst>
            <pc:docMk/>
            <pc:sldMk cId="1421806400" sldId="293"/>
            <ac:spMk id="2" creationId="{9EE506EB-74C0-A558-0A5D-A3361A4BE6EC}"/>
          </ac:spMkLst>
        </pc:spChg>
        <pc:spChg chg="mod">
          <ac:chgData name="Sofia Olsson" userId="e57304f8-51ed-4755-9aa3-554bc1d67766" providerId="ADAL" clId="{14E4CC88-8127-47D5-95E3-14F77B10D56C}" dt="2025-04-06T06:10:13.702" v="1237" actId="207"/>
          <ac:spMkLst>
            <pc:docMk/>
            <pc:sldMk cId="1421806400" sldId="293"/>
            <ac:spMk id="3" creationId="{B056BD4C-6C1E-BF6A-4ABA-92A5F3017F27}"/>
          </ac:spMkLst>
        </pc:spChg>
      </pc:sldChg>
      <pc:sldChg chg="modSp add mod">
        <pc:chgData name="Sofia Olsson" userId="e57304f8-51ed-4755-9aa3-554bc1d67766" providerId="ADAL" clId="{14E4CC88-8127-47D5-95E3-14F77B10D56C}" dt="2025-04-06T06:37:14.233" v="1363" actId="20577"/>
        <pc:sldMkLst>
          <pc:docMk/>
          <pc:sldMk cId="2795884727" sldId="294"/>
        </pc:sldMkLst>
        <pc:spChg chg="mod">
          <ac:chgData name="Sofia Olsson" userId="e57304f8-51ed-4755-9aa3-554bc1d67766" providerId="ADAL" clId="{14E4CC88-8127-47D5-95E3-14F77B10D56C}" dt="2025-04-06T06:35:10.307" v="1301" actId="20577"/>
          <ac:spMkLst>
            <pc:docMk/>
            <pc:sldMk cId="2795884727" sldId="294"/>
            <ac:spMk id="2" creationId="{4F08CDA7-00FD-C666-FA7A-CD785D55B8EC}"/>
          </ac:spMkLst>
        </pc:spChg>
        <pc:spChg chg="mod">
          <ac:chgData name="Sofia Olsson" userId="e57304f8-51ed-4755-9aa3-554bc1d67766" providerId="ADAL" clId="{14E4CC88-8127-47D5-95E3-14F77B10D56C}" dt="2025-04-06T06:37:14.233" v="1363" actId="20577"/>
          <ac:spMkLst>
            <pc:docMk/>
            <pc:sldMk cId="2795884727" sldId="294"/>
            <ac:spMk id="3" creationId="{0478AC75-1C8F-78A6-542C-99678CFC3D3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9507F5-A15B-465B-997B-4A4D5B5870A7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275F32-4927-4FA4-8D0B-20FBDAB8FD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570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3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5132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481A0-A525-21FD-624A-4AC6DFE2BC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764491-2702-4B23-F3CC-A4C7926B50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28A9E4A-10CA-E685-A641-B670AD5A01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634ACE-E520-2DDE-5F22-890CA2CAF1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532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800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2639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729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8B45C2-DF17-1724-F600-BE62E241D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2AE2066-F50E-4A25-59D9-8DE21F74D4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9A6D9A-73BD-FF22-431B-6FB7F10FC7F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92CA5C-7E74-C0AB-DEBF-EAC322A9EE3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0200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A4B36-35F2-A86D-8161-CC73853444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77269D5-BD19-429B-AF2A-347E3078C7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4257746-6309-2242-3001-6BD79D9E2A8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13E258-7C3E-875A-25AF-5038977537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197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D23EB3-5DE4-A834-A792-15D6A2294E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2C7277-07F2-8D53-D2FD-C6C5399CC3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371EEE3-1F84-111A-FA6F-8F0E622035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5B49CB-B2D4-B405-5A94-FD035EE749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275F32-4927-4FA4-8D0B-20FBDAB8FDA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600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8E477-F3E6-3848-EF3D-1555CB1DF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BE6924-6D48-4F69-29C5-35F6E3CA46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B4D71A-12AA-430E-0866-9EF8F4C16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93B2F2-6A4A-54F1-5B02-1FEF67279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783970-3F33-4DA9-E927-0D73B0C5E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5877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0B884-DD45-141B-B885-F4805AD76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E4E8E3-4482-8BC9-E97E-0A30D0F23C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4F5209-4A8C-BD24-320D-37B117743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9225B4-4D69-C8CF-1895-E2B2C1279F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345C2-729E-3700-754D-51860DED3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2118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F72DEB-CD66-E661-2E8A-0EB38667E0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C65503-528D-B0E7-1A30-356ECBE05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B0C9DB-E5C8-6B2F-60C4-EE5A1FBE0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2AF9C4-81AE-2C2B-E3F9-C671FECFC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D92064-DF50-205A-D1D1-525A0D99F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9227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6A6D3-A7C7-B35A-3F11-9EC6A9652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22DE88-86ED-9C98-3B35-7B417C5AAC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67A597-8F88-6597-B260-B77EDEF05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6F65A6-FA1B-88A4-D41D-7A8320928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B0FD0E-1471-EBCA-4222-52E4E5AFF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796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711D7-8A17-CDAD-C5FA-B7C9187E2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0489BB-E0CB-6621-1B0B-1EB18CF03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B6EEAD-1EC7-C42E-216E-04FC95DEE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B264A-922E-76ED-F6A7-731F3B84B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7821C1-4800-0134-F830-97CD3872F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42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10ABF7-114E-B37E-51D5-1776DBB23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577888-9EBA-1B3D-3903-3D19EEC19A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5EB2EC-8790-FE81-996A-91A18CC731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820418-881D-ECCC-EB90-4F05E28D1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1401D8-029C-EB98-F84F-167F3C6DB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72246C-D60F-D909-68B0-6231ACA31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566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8FE31-489A-2E70-07AC-A326C92B9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EAD316-82D5-B2B3-7410-2E3009A0B8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8CC788-1BD7-3AE2-53AB-6A733467F0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21F861-589B-B360-BCE2-045C444EAE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64C641-AE46-2B09-2AC9-BCB8E1E93D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450927C-552E-E5D3-63CE-AB2393F7D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44D4EBE-21C2-6D11-0F10-1BE8C7942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ADE779-8BAC-2ACC-A3E2-9C258E4ED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025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EBEAC-CBB4-6653-FFF9-503FA2E1C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B7D621-02F2-B321-0621-D74C16CFD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3BBDD1-9B7B-6DFF-224F-2D75D4501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B5BE6F-09E4-2ABA-46A7-46B5D93C5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93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C61E15-BD93-393E-63B9-9D2E42E58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D3C535-7305-BB20-A454-4422861FA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91FA59-3FC2-1F0E-FFAE-2EBA01529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145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48B0DC-43FA-E59C-B3A6-4616127FD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AEE1A5-AF5F-1F80-8520-28ED2AD7B8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2417F3-6FB2-8F3A-9026-D4C3FF3E08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CF7CEF-4613-CCD9-F6CA-6E61048C08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C12E0F-36F7-3856-CE69-49068E2E9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2D1447-419C-5B8B-0CCD-ECA4669BD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120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353E4-4C13-4557-03CD-9990D9E8F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CD99E0-8B5C-8832-C294-E809D1243CC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A1FD0C-155A-03C6-718F-FA876036FD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E6730A-D74E-6EE6-D3DC-1E6BD5428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37E443-BE16-2E11-7981-94255077E8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564B00-242D-7292-5C1D-5CA21CF94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400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843551-EBDB-29FF-494E-FEDB0DE4F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6626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843551-EBDB-29FF-494E-FEDB0DE4F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7FB8B5-D9AB-A986-9F9C-117C313A3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AD4114-4849-991C-9A81-A95D03C2D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B57310-BD9B-6383-27EA-392B4485B9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55191C-9952-4865-BF69-B649EF988702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7A528E-6FC1-232E-1BD6-5BB7A4B6CA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D861E7-8150-1E91-A97A-CC127F12A2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4B6B40-55A2-4AB0-9011-8150CE5D4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516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bloggen.laget.se/wp-content/uploads/2021/09/Guide-fo%CC%88ra%CC%88ldrar-i-systemet.pdf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tersport.se/club-intersport/registrera/?team=ifk-valla" TargetMode="External"/><Relationship Id="rId2" Type="http://schemas.openxmlformats.org/officeDocument/2006/relationships/hyperlink" Target="https://team.intersport.se/ifk-valla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laget.se/IFKValla/Page/451685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https/www.folksam.se/forsakringar/idrottsforsakring/fotboll" TargetMode="External"/><Relationship Id="rId2" Type="http://schemas.openxmlformats.org/officeDocument/2006/relationships/hyperlink" Target="https://aktiva.svenskfotboll.se/forening/administration/forsakringar/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1030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BEC049-4461-84E4-AAC0-AB7E85866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8454" y="1360481"/>
            <a:ext cx="4605340" cy="2387600"/>
          </a:xfrm>
        </p:spPr>
        <p:txBody>
          <a:bodyPr>
            <a:normAutofit/>
          </a:bodyPr>
          <a:lstStyle/>
          <a:p>
            <a:pPr algn="l"/>
            <a:r>
              <a:rPr lang="sv-SE" sz="5000" dirty="0">
                <a:solidFill>
                  <a:schemeClr val="bg1"/>
                </a:solidFill>
              </a:rPr>
              <a:t>IFK VALLA F16/17</a:t>
            </a:r>
            <a:endParaRPr lang="en-US" sz="50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E9C6F5-BC6F-62E0-BA31-7C768471F6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8454" y="3840156"/>
            <a:ext cx="4605340" cy="1655762"/>
          </a:xfrm>
        </p:spPr>
        <p:txBody>
          <a:bodyPr>
            <a:normAutofit/>
          </a:bodyPr>
          <a:lstStyle/>
          <a:p>
            <a:pPr algn="l"/>
            <a:r>
              <a:rPr lang="sv-SE" sz="2000" dirty="0">
                <a:solidFill>
                  <a:schemeClr val="bg1"/>
                </a:solidFill>
              </a:rPr>
              <a:t>Föräldramöte 2025-04-08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026" name="Picture 2" descr="IFK Valla">
            <a:extLst>
              <a:ext uri="{FF2B5EF4-FFF2-40B4-BE49-F238E27FC236}">
                <a16:creationId xmlns:a16="http://schemas.microsoft.com/office/drawing/2014/main" id="{AFDAF1D6-D78F-7784-E413-647BD7165F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6" r="18199" b="-1"/>
          <a:stretch/>
        </p:blipFill>
        <p:spPr bwMode="auto">
          <a:xfrm>
            <a:off x="5800734" y="1057275"/>
            <a:ext cx="5917401" cy="474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9" name="Rectangle 1032">
            <a:extLst>
              <a:ext uri="{FF2B5EF4-FFF2-40B4-BE49-F238E27FC236}">
                <a16:creationId xmlns:a16="http://schemas.microsoft.com/office/drawing/2014/main" id="{D84C2E9E-0B5D-4B5F-9A1F-70EBDCE39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2461" y="1197769"/>
            <a:ext cx="10987078" cy="4462463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448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3BC5407-A44E-2426-DC4C-E9842F42B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6200" b="1">
                <a:solidFill>
                  <a:schemeClr val="bg1"/>
                </a:solidFill>
              </a:rPr>
              <a:t>Lagföräldrar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A5052A0-9FFA-2AF6-0C0D-AA714F4231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r>
              <a:rPr lang="sv-SE" sz="2000">
                <a:solidFill>
                  <a:schemeClr val="bg1"/>
                </a:solidFill>
              </a:rPr>
              <a:t>Försäljning för framtida cuper/lagaktiviteter </a:t>
            </a:r>
          </a:p>
        </p:txBody>
      </p:sp>
    </p:spTree>
    <p:extLst>
      <p:ext uri="{BB962C8B-B14F-4D97-AF65-F5344CB8AC3E}">
        <p14:creationId xmlns:p14="http://schemas.microsoft.com/office/powerpoint/2010/main" val="3409893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0B9147-382C-1CA3-FA39-952CC7022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8000">
                <a:solidFill>
                  <a:schemeClr val="bg1"/>
                </a:solidFill>
              </a:rPr>
              <a:t>Laget.se</a:t>
            </a:r>
            <a:endParaRPr lang="en-US" sz="8000">
              <a:solidFill>
                <a:schemeClr val="bg1"/>
              </a:solidFill>
            </a:endParaRPr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6CCE79-5D6E-9A43-4C6B-C8DB8A1814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- Föräldrar ansvarar för att hålla    kontaktuppgifter på laget.se uppdaterade.</a:t>
            </a:r>
          </a:p>
          <a:p>
            <a:pPr>
              <a:buFontTx/>
              <a:buChar char="-"/>
            </a:pPr>
            <a:r>
              <a:rPr lang="sv-SE" sz="2000">
                <a:solidFill>
                  <a:schemeClr val="bg1"/>
                </a:solidFill>
              </a:rPr>
              <a:t>Föräldrar ansvarar för hålla sig uppdaterad avseende information som kommuniceras på laget.se samt svarar på kallelser.</a:t>
            </a:r>
          </a:p>
          <a:p>
            <a:pPr marL="0" indent="0">
              <a:buNone/>
            </a:pP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504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B0D783B-15AD-4271-E18A-A45487322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6127" y="643467"/>
            <a:ext cx="3899745" cy="55710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7BDCA8-8E20-2310-28E2-58EB66DF3697}"/>
              </a:ext>
            </a:extLst>
          </p:cNvPr>
          <p:cNvSpPr txBox="1"/>
          <p:nvPr/>
        </p:nvSpPr>
        <p:spPr>
          <a:xfrm>
            <a:off x="622045" y="5845201"/>
            <a:ext cx="60941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Guide-föräldrar-i-systemet.pdf (laget.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1825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5A3D2A-FE48-D17C-B8EF-019BA5EE3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5600" b="0" i="0">
                <a:solidFill>
                  <a:schemeClr val="bg1"/>
                </a:solidFill>
                <a:effectLst/>
                <a:latin typeface="ProximaNova"/>
              </a:rPr>
              <a:t>Föräldra/ laguppgifter</a:t>
            </a:r>
            <a:endParaRPr lang="en-US" sz="5600">
              <a:solidFill>
                <a:schemeClr val="bg1"/>
              </a:solidFill>
            </a:endParaRPr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4A90C-6EDD-A02D-837A-86724D2402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1100" b="1" i="0">
                <a:solidFill>
                  <a:schemeClr val="bg1"/>
                </a:solidFill>
                <a:effectLst/>
              </a:rPr>
              <a:t>Föräldrar till barn och ungdomar i föreningen förväntas ställa upp på:</a:t>
            </a:r>
          </a:p>
          <a:p>
            <a:pPr marL="0" indent="0">
              <a:buNone/>
            </a:pPr>
            <a:br>
              <a:rPr lang="sv-SE" sz="1100">
                <a:solidFill>
                  <a:schemeClr val="bg1"/>
                </a:solidFill>
              </a:rPr>
            </a:br>
            <a:r>
              <a:rPr lang="sv-SE" sz="1100" b="0" i="0">
                <a:solidFill>
                  <a:schemeClr val="bg1"/>
                </a:solidFill>
                <a:effectLst/>
              </a:rPr>
              <a:t>• Betala den årliga medlems- och träningsavgiften i tid</a:t>
            </a:r>
            <a:br>
              <a:rPr lang="sv-SE" sz="1100">
                <a:solidFill>
                  <a:schemeClr val="bg1"/>
                </a:solidFill>
              </a:rPr>
            </a:br>
            <a:r>
              <a:rPr lang="sv-SE" sz="1100" b="0" i="0">
                <a:solidFill>
                  <a:schemeClr val="bg1"/>
                </a:solidFill>
                <a:effectLst/>
              </a:rPr>
              <a:t>• Sälja </a:t>
            </a:r>
            <a:r>
              <a:rPr lang="sv-SE" sz="1100">
                <a:solidFill>
                  <a:schemeClr val="bg1"/>
                </a:solidFill>
              </a:rPr>
              <a:t>Sportlotter</a:t>
            </a:r>
            <a:br>
              <a:rPr lang="sv-SE" sz="1100">
                <a:solidFill>
                  <a:schemeClr val="bg1"/>
                </a:solidFill>
              </a:rPr>
            </a:br>
            <a:r>
              <a:rPr lang="sv-SE" sz="1100" b="0" i="0">
                <a:solidFill>
                  <a:schemeClr val="bg1"/>
                </a:solidFill>
                <a:effectLst/>
              </a:rPr>
              <a:t>• Ställa upp på de föräldrauppgifter du tilldelas kioskförsäljning + </a:t>
            </a:r>
            <a:r>
              <a:rPr lang="sv-SE" sz="1100">
                <a:solidFill>
                  <a:schemeClr val="bg1"/>
                </a:solidFill>
              </a:rPr>
              <a:t>baka</a:t>
            </a:r>
            <a:r>
              <a:rPr lang="sv-SE" sz="1100" b="0" i="0">
                <a:solidFill>
                  <a:schemeClr val="bg1"/>
                </a:solidFill>
                <a:effectLst/>
              </a:rPr>
              <a:t>, matchvärd och flaggvifftare vid det egna lagets matcher* </a:t>
            </a:r>
          </a:p>
          <a:p>
            <a:pPr marL="0" indent="0">
              <a:buNone/>
            </a:pPr>
            <a:r>
              <a:rPr lang="sv-SE" sz="1100">
                <a:solidFill>
                  <a:schemeClr val="bg1"/>
                </a:solidFill>
              </a:rPr>
              <a:t>Mer finns Info finns att läsa under dokument. </a:t>
            </a:r>
          </a:p>
          <a:p>
            <a:pPr marL="0" indent="0">
              <a:buNone/>
            </a:pPr>
            <a:endParaRPr lang="sv-SE" sz="1100">
              <a:solidFill>
                <a:schemeClr val="bg1"/>
              </a:solidFill>
            </a:endParaRPr>
          </a:p>
          <a:p>
            <a:r>
              <a:rPr lang="sv-SE" sz="1100">
                <a:solidFill>
                  <a:schemeClr val="bg1"/>
                </a:solidFill>
              </a:rPr>
              <a:t>A</a:t>
            </a:r>
            <a:r>
              <a:rPr lang="sv-SE" sz="1100" b="0" i="0">
                <a:solidFill>
                  <a:schemeClr val="bg1"/>
                </a:solidFill>
                <a:effectLst/>
              </a:rPr>
              <a:t>rbetsdagar höst/vår (minst 2 föräldrar/lag)</a:t>
            </a:r>
            <a:endParaRPr lang="sv-SE" sz="1100" b="1" i="0">
              <a:solidFill>
                <a:schemeClr val="bg1"/>
              </a:solidFill>
              <a:effectLst/>
            </a:endParaRPr>
          </a:p>
          <a:p>
            <a:r>
              <a:rPr lang="sv-SE" sz="1100">
                <a:solidFill>
                  <a:schemeClr val="bg1"/>
                </a:solidFill>
              </a:rPr>
              <a:t>Matchvärdar på Alagets matcher ( 29/5 kl 16:00) </a:t>
            </a:r>
            <a:br>
              <a:rPr lang="sv-SE" sz="1100">
                <a:solidFill>
                  <a:schemeClr val="bg1"/>
                </a:solidFill>
              </a:rPr>
            </a:br>
            <a:endParaRPr lang="sv-SE" sz="1100">
              <a:solidFill>
                <a:schemeClr val="bg1"/>
              </a:solidFill>
            </a:endParaRPr>
          </a:p>
          <a:p>
            <a:r>
              <a:rPr lang="sv-SE" sz="1100" b="0" i="0">
                <a:solidFill>
                  <a:schemeClr val="bg1"/>
                </a:solidFill>
                <a:effectLst/>
              </a:rPr>
              <a:t>Ta del av och följa föreningens policy (finns att läsa på föreningens hemsida om ni vill läsa den igen)</a:t>
            </a:r>
            <a:br>
              <a:rPr lang="sv-SE" sz="1100" b="0" i="0">
                <a:solidFill>
                  <a:schemeClr val="bg1"/>
                </a:solidFill>
                <a:effectLst/>
              </a:rPr>
            </a:br>
            <a:br>
              <a:rPr lang="sv-SE" sz="1100">
                <a:solidFill>
                  <a:schemeClr val="bg1"/>
                </a:solidFill>
              </a:rPr>
            </a:br>
            <a:r>
              <a:rPr lang="sv-SE" sz="1100" b="0" i="0">
                <a:solidFill>
                  <a:schemeClr val="bg1"/>
                </a:solidFill>
                <a:effectLst/>
              </a:rPr>
              <a:t>* Förtjänst vid försäljning på matcher, cuper mm går till föreningens gemensamma utgifter</a:t>
            </a:r>
            <a:br>
              <a:rPr lang="sv-SE" sz="1100">
                <a:solidFill>
                  <a:schemeClr val="bg1"/>
                </a:solidFill>
              </a:rPr>
            </a:br>
            <a:r>
              <a:rPr lang="sv-SE" sz="1100" b="0" i="0">
                <a:solidFill>
                  <a:schemeClr val="bg1"/>
                </a:solidFill>
                <a:effectLst/>
              </a:rPr>
              <a:t>(anläggning, matchställ, lagkassor mm).</a:t>
            </a:r>
          </a:p>
          <a:p>
            <a:pPr marL="0" indent="0">
              <a:buNone/>
            </a:pPr>
            <a:endParaRPr lang="sv-SE" sz="110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sv-SE" sz="1100">
                <a:solidFill>
                  <a:schemeClr val="bg1"/>
                </a:solidFill>
              </a:rPr>
              <a:t>Mer information kommer kring vem som ansvarar för vad samt till vilka matcher. </a:t>
            </a:r>
          </a:p>
        </p:txBody>
      </p:sp>
    </p:spTree>
    <p:extLst>
      <p:ext uri="{BB962C8B-B14F-4D97-AF65-F5344CB8AC3E}">
        <p14:creationId xmlns:p14="http://schemas.microsoft.com/office/powerpoint/2010/main" val="2495628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59C886-1811-1860-6200-1C7ADCC97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>
                <a:solidFill>
                  <a:schemeClr val="bg1"/>
                </a:solidFill>
              </a:rPr>
              <a:t>IFK Vallas träningskläder/</a:t>
            </a:r>
            <a:br>
              <a:rPr lang="sv-SE">
                <a:solidFill>
                  <a:schemeClr val="bg1"/>
                </a:solidFill>
              </a:rPr>
            </a:br>
            <a:r>
              <a:rPr lang="sv-SE">
                <a:solidFill>
                  <a:schemeClr val="bg1"/>
                </a:solidFill>
              </a:rPr>
              <a:t>träningsoverall</a:t>
            </a:r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C43311-FF7B-A1BA-8FCD-CD6A62A9D3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1700" b="1" i="0">
                <a:solidFill>
                  <a:schemeClr val="bg1"/>
                </a:solidFill>
                <a:effectLst/>
              </a:rPr>
              <a:t>Webshop:</a:t>
            </a:r>
            <a:r>
              <a:rPr lang="sv-SE" sz="1700" b="0" i="0">
                <a:solidFill>
                  <a:schemeClr val="bg1"/>
                </a:solidFill>
                <a:effectLst/>
              </a:rPr>
              <a:t> </a:t>
            </a:r>
            <a:r>
              <a:rPr lang="sv-SE" sz="1700" b="0" i="0" u="sng">
                <a:solidFill>
                  <a:schemeClr val="bg1"/>
                </a:solidFill>
                <a:effectLst/>
                <a:hlinkClick r:id="rId2"/>
              </a:rPr>
              <a:t>https://team.intersport.se/ifk-valla</a:t>
            </a:r>
            <a:br>
              <a:rPr lang="sv-SE" sz="1700">
                <a:solidFill>
                  <a:schemeClr val="bg1"/>
                </a:solidFill>
              </a:rPr>
            </a:br>
            <a:br>
              <a:rPr lang="sv-SE" sz="1700">
                <a:solidFill>
                  <a:schemeClr val="bg1"/>
                </a:solidFill>
              </a:rPr>
            </a:br>
            <a:r>
              <a:rPr lang="sv-SE" sz="1700" b="1" i="0">
                <a:solidFill>
                  <a:schemeClr val="bg1"/>
                </a:solidFill>
                <a:effectLst/>
              </a:rPr>
              <a:t>Utprovning</a:t>
            </a:r>
            <a:br>
              <a:rPr lang="sv-SE" sz="1700">
                <a:solidFill>
                  <a:schemeClr val="bg1"/>
                </a:solidFill>
              </a:rPr>
            </a:br>
            <a:r>
              <a:rPr lang="sv-SE" sz="1700" b="0" i="0">
                <a:solidFill>
                  <a:schemeClr val="bg1"/>
                </a:solidFill>
                <a:effectLst/>
              </a:rPr>
              <a:t>Är man osäker på vilken storlek man skall beställa så kan man prova kläderna i klubbstugan.</a:t>
            </a:r>
            <a:br>
              <a:rPr lang="sv-SE" sz="1700">
                <a:solidFill>
                  <a:schemeClr val="bg1"/>
                </a:solidFill>
              </a:rPr>
            </a:br>
            <a:br>
              <a:rPr lang="sv-SE" sz="1700">
                <a:solidFill>
                  <a:schemeClr val="bg1"/>
                </a:solidFill>
              </a:rPr>
            </a:br>
            <a:r>
              <a:rPr lang="sv-SE" sz="1700" b="1" i="0">
                <a:solidFill>
                  <a:schemeClr val="bg1"/>
                </a:solidFill>
                <a:effectLst/>
              </a:rPr>
              <a:t>Stöd IFK Valla</a:t>
            </a:r>
            <a:br>
              <a:rPr lang="sv-SE" sz="1700">
                <a:solidFill>
                  <a:schemeClr val="bg1"/>
                </a:solidFill>
              </a:rPr>
            </a:br>
            <a:r>
              <a:rPr lang="sv-SE" sz="1700" b="0" i="0">
                <a:solidFill>
                  <a:schemeClr val="bg1"/>
                </a:solidFill>
                <a:effectLst/>
              </a:rPr>
              <a:t>Vi uppmanar alla föreningens medlemmar att bli medlem hos Intersport och välja att stötta IFK Valla.</a:t>
            </a:r>
            <a:br>
              <a:rPr lang="sv-SE" sz="1700">
                <a:solidFill>
                  <a:schemeClr val="bg1"/>
                </a:solidFill>
              </a:rPr>
            </a:br>
            <a:r>
              <a:rPr lang="sv-SE" sz="1700" b="0" i="0">
                <a:solidFill>
                  <a:schemeClr val="bg1"/>
                </a:solidFill>
                <a:effectLst/>
              </a:rPr>
              <a:t>Du stödjer då IFK Valla med 3% i extra bonus när du handlar på Intersport samtidigt som du behåller din egen bonus. Medlemskapet är kortlöst och kostnadsfritt.</a:t>
            </a:r>
            <a:br>
              <a:rPr lang="sv-SE" sz="1700">
                <a:solidFill>
                  <a:schemeClr val="bg1"/>
                </a:solidFill>
              </a:rPr>
            </a:br>
            <a:r>
              <a:rPr lang="sv-SE" sz="1700" b="0" i="0" u="sng">
                <a:solidFill>
                  <a:schemeClr val="bg1"/>
                </a:solidFill>
                <a:effectLst/>
                <a:hlinkClick r:id="rId3"/>
              </a:rPr>
              <a:t>Skapa konto och välj IFK Valla</a:t>
            </a:r>
            <a:br>
              <a:rPr lang="sv-SE" sz="1700">
                <a:solidFill>
                  <a:schemeClr val="bg1"/>
                </a:solidFill>
              </a:rPr>
            </a:br>
            <a:br>
              <a:rPr lang="sv-SE" sz="1700">
                <a:solidFill>
                  <a:schemeClr val="bg1"/>
                </a:solidFill>
              </a:rPr>
            </a:br>
            <a:r>
              <a:rPr lang="sv-SE" sz="1700" b="0" i="0">
                <a:solidFill>
                  <a:schemeClr val="bg1"/>
                </a:solidFill>
                <a:effectLst/>
              </a:rPr>
              <a:t>Läs mer under </a:t>
            </a:r>
            <a:r>
              <a:rPr lang="sv-SE" sz="1700" b="0" i="0" u="sng">
                <a:solidFill>
                  <a:schemeClr val="bg1"/>
                </a:solidFill>
                <a:effectLst/>
                <a:hlinkClick r:id="rId4"/>
              </a:rPr>
              <a:t>Klubbkonfektion</a:t>
            </a:r>
            <a:br>
              <a:rPr lang="sv-SE" sz="1700">
                <a:solidFill>
                  <a:schemeClr val="bg1"/>
                </a:solidFill>
              </a:rPr>
            </a:br>
            <a:endParaRPr lang="en-US" sz="17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6723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AC8EB0-0A57-3EBC-92F8-5C81806F4F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6800">
                <a:solidFill>
                  <a:schemeClr val="bg1"/>
                </a:solidFill>
              </a:rPr>
              <a:t>Försäkring</a:t>
            </a:r>
            <a:endParaRPr lang="en-US" sz="6800">
              <a:solidFill>
                <a:schemeClr val="bg1"/>
              </a:solidFill>
            </a:endParaRPr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4E50D-C214-1DB3-C0E9-4C234C74D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 b="0" i="0">
                <a:solidFill>
                  <a:schemeClr val="bg1"/>
                </a:solidFill>
                <a:effectLst/>
              </a:rPr>
              <a:t>IFK Valla är anslutna till </a:t>
            </a:r>
            <a:r>
              <a:rPr lang="sv-SE" sz="2000" b="0" i="0" u="sng">
                <a:solidFill>
                  <a:schemeClr val="bg1"/>
                </a:solidFill>
                <a:effectLst/>
                <a:hlinkClick r:id="rId2"/>
              </a:rPr>
              <a:t>Svenska Fotbollförbundet</a:t>
            </a:r>
            <a:r>
              <a:rPr lang="sv-SE" sz="2000" b="0" i="0">
                <a:solidFill>
                  <a:schemeClr val="bg1"/>
                </a:solidFill>
                <a:effectLst/>
              </a:rPr>
              <a:t> som samarbetar med Folksam, vilket innebär att våra spelare omfattas av en olycksfallsförsäkring. Försäkringen i Folksam ger dig ett tryggt grundskydd, till exempel om du råkar ut för en skada under match eller träning.</a:t>
            </a:r>
            <a:br>
              <a:rPr lang="sv-SE" sz="2000">
                <a:solidFill>
                  <a:schemeClr val="bg1"/>
                </a:solidFill>
              </a:rPr>
            </a:br>
            <a:br>
              <a:rPr lang="sv-SE" sz="2000">
                <a:solidFill>
                  <a:schemeClr val="bg1"/>
                </a:solidFill>
              </a:rPr>
            </a:br>
            <a:r>
              <a:rPr lang="sv-SE" sz="2000" b="0" i="0">
                <a:solidFill>
                  <a:schemeClr val="bg1"/>
                </a:solidFill>
                <a:effectLst/>
              </a:rPr>
              <a:t>Om du drabbats av en skada i samband med ditt fotbollsspel, så klicka på länken nedan för att få info om hur du anmäler det till Folksam.</a:t>
            </a:r>
            <a:br>
              <a:rPr lang="sv-SE" sz="2000">
                <a:solidFill>
                  <a:schemeClr val="bg1"/>
                </a:solidFill>
              </a:rPr>
            </a:br>
            <a:r>
              <a:rPr lang="sv-SE" sz="2000" b="0" i="0" u="sng">
                <a:solidFill>
                  <a:schemeClr val="bg1"/>
                </a:solidFill>
                <a:effectLst/>
                <a:hlinkClick r:id="rId3"/>
              </a:rPr>
              <a:t>Folksam Idrottsskada</a:t>
            </a:r>
            <a:br>
              <a:rPr lang="sv-SE" sz="2000">
                <a:solidFill>
                  <a:schemeClr val="bg1"/>
                </a:solidFill>
              </a:rPr>
            </a:b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380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37776BF-1F0A-132F-7D62-5E24DEB49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C77679-DAE6-89C6-AC63-FCE180B14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5000">
                <a:solidFill>
                  <a:schemeClr val="bg1"/>
                </a:solidFill>
              </a:rPr>
              <a:t>Majblomman</a:t>
            </a:r>
            <a:endParaRPr lang="en-US" sz="500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52C3AE-4706-811D-9E1B-21A855C0FF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Ansökan om ekonomiskstöd kan sökas via Majblomman</a:t>
            </a:r>
            <a:br>
              <a:rPr lang="sv-SE" sz="2000">
                <a:solidFill>
                  <a:schemeClr val="bg1"/>
                </a:solidFill>
              </a:rPr>
            </a:br>
            <a:r>
              <a:rPr lang="sv-SE" sz="2000">
                <a:solidFill>
                  <a:schemeClr val="bg1"/>
                </a:solidFill>
              </a:rPr>
              <a:t>senast 30 april samt 31 oktober</a:t>
            </a: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991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3C64D4F-FCC6-8F00-EA2B-99A0A9AACC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CDDC4AA-6D70-F790-2B35-1D38A54AD9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E506EB-74C0-A558-0A5D-A3361A4BE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5000" dirty="0">
                <a:solidFill>
                  <a:schemeClr val="bg1"/>
                </a:solidFill>
              </a:rPr>
              <a:t>Tjejfotboll </a:t>
            </a:r>
            <a:endParaRPr lang="en-US" sz="5000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89C99FA-3AF2-97A8-AC8B-FB6551ADF8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9F768AD-710D-B170-B02D-088BC9A29D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56BD4C-6C1E-BF6A-4ABA-92A5F3017F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Fredagen den 25 /4 </a:t>
            </a:r>
            <a:r>
              <a:rPr lang="en-US" sz="2000" dirty="0" err="1">
                <a:solidFill>
                  <a:schemeClr val="bg1"/>
                </a:solidFill>
              </a:rPr>
              <a:t>är</a:t>
            </a:r>
            <a:r>
              <a:rPr lang="en-US" sz="2000" dirty="0">
                <a:solidFill>
                  <a:schemeClr val="bg1"/>
                </a:solidFill>
              </a:rPr>
              <a:t> det </a:t>
            </a:r>
            <a:r>
              <a:rPr lang="en-US" sz="2000" dirty="0" err="1">
                <a:solidFill>
                  <a:schemeClr val="bg1"/>
                </a:solidFill>
              </a:rPr>
              <a:t>dax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igen</a:t>
            </a:r>
            <a:r>
              <a:rPr lang="en-US" sz="2000" dirty="0">
                <a:solidFill>
                  <a:schemeClr val="bg1"/>
                </a:solidFill>
              </a:rPr>
              <a:t> !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Mer information </a:t>
            </a:r>
            <a:r>
              <a:rPr lang="en-US" sz="2000" dirty="0" err="1">
                <a:solidFill>
                  <a:schemeClr val="bg1"/>
                </a:solidFill>
              </a:rPr>
              <a:t>kommer</a:t>
            </a:r>
            <a:r>
              <a:rPr lang="en-US" sz="2000" dirty="0">
                <a:solidFill>
                  <a:schemeClr val="bg1"/>
                </a:solidFill>
              </a:rPr>
              <a:t>….  </a:t>
            </a:r>
          </a:p>
          <a:p>
            <a:pPr marL="0" indent="0">
              <a:buNone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806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ACB840-FA13-E4E5-E053-F85999FC2F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F2ACF5C-9F65-1599-7C90-F0DDE5C79B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08CDA7-00FD-C666-FA7A-CD785D55B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5000" dirty="0">
                <a:solidFill>
                  <a:schemeClr val="bg1"/>
                </a:solidFill>
              </a:rPr>
              <a:t>Fotbollsskolan </a:t>
            </a:r>
            <a:endParaRPr lang="en-US" sz="5000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7F3521-0FF1-9402-AC7E-656C05AC3E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84E7D8-2875-CDED-404D-F6980873CF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78AC75-1C8F-78A6-542C-99678CFC3D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</a:rPr>
              <a:t>Save the date : 7-9 </a:t>
            </a:r>
            <a:r>
              <a:rPr lang="en-US" sz="2000" dirty="0" err="1">
                <a:solidFill>
                  <a:schemeClr val="bg1"/>
                </a:solidFill>
              </a:rPr>
              <a:t>Augusti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</a:p>
          <a:p>
            <a:pPr marL="0" indent="0">
              <a:buNone/>
            </a:pPr>
            <a:r>
              <a:rPr lang="en-US" sz="2000" dirty="0" err="1">
                <a:solidFill>
                  <a:schemeClr val="bg1"/>
                </a:solidFill>
              </a:rPr>
              <a:t>Anmälan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dirty="0" err="1">
                <a:solidFill>
                  <a:schemeClr val="bg1"/>
                </a:solidFill>
              </a:rPr>
              <a:t>öppnar</a:t>
            </a:r>
            <a:r>
              <a:rPr lang="en-US" sz="2000" dirty="0">
                <a:solidFill>
                  <a:schemeClr val="bg1"/>
                </a:solidFill>
              </a:rPr>
              <a:t> I </a:t>
            </a:r>
            <a:r>
              <a:rPr lang="en-US" sz="2000" dirty="0" err="1">
                <a:solidFill>
                  <a:schemeClr val="bg1"/>
                </a:solidFill>
              </a:rPr>
              <a:t>början</a:t>
            </a:r>
            <a:r>
              <a:rPr lang="en-US" sz="2000" dirty="0">
                <a:solidFill>
                  <a:schemeClr val="bg1"/>
                </a:solidFill>
              </a:rPr>
              <a:t> av </a:t>
            </a:r>
            <a:r>
              <a:rPr lang="en-US" sz="2000" dirty="0" err="1">
                <a:solidFill>
                  <a:schemeClr val="bg1"/>
                </a:solidFill>
              </a:rPr>
              <a:t>maj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95884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AF3A4-C847-64B4-CD14-4865D3A3B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903" y="949325"/>
            <a:ext cx="8071706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1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Övrigt</a:t>
            </a:r>
            <a:br>
              <a:rPr lang="en-US" sz="41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41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rågor</a:t>
            </a:r>
            <a:br>
              <a:rPr lang="en-US" sz="41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41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eedback</a:t>
            </a:r>
            <a:br>
              <a:rPr lang="en-US" sz="41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endParaRPr lang="en-US" sz="41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C4521DE-248E-440D-AAD6-FD9E7D34B3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85285" y="0"/>
            <a:ext cx="0" cy="68580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42C13FA-4C0F-42D0-9626-5BA6040D8C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6252485"/>
            <a:ext cx="1219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9319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8A54CA-9EB6-2B58-01ED-2D5069344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8000">
                <a:solidFill>
                  <a:schemeClr val="bg1"/>
                </a:solidFill>
              </a:rPr>
              <a:t>Agenda</a:t>
            </a:r>
            <a:endParaRPr lang="en-US" sz="800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71144E-67AD-0260-44AF-9C30F6EC4E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  <a:latin typeface="ProximaNova"/>
              </a:rPr>
              <a:t>• Ledare</a:t>
            </a:r>
          </a:p>
          <a:p>
            <a:r>
              <a:rPr lang="sv-SE" sz="2000">
                <a:solidFill>
                  <a:schemeClr val="bg1"/>
                </a:solidFill>
                <a:latin typeface="ProximaNova"/>
              </a:rPr>
              <a:t>Tio budorden </a:t>
            </a:r>
          </a:p>
          <a:p>
            <a:pPr marL="0" indent="0">
              <a:buNone/>
            </a:pP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</a:t>
            </a:r>
            <a:r>
              <a:rPr lang="sv-SE" sz="2000">
                <a:solidFill>
                  <a:schemeClr val="bg1"/>
                </a:solidFill>
                <a:latin typeface="ProximaNova"/>
              </a:rPr>
              <a:t>Träningstider tisdagar 17:30- 18:45</a:t>
            </a:r>
          </a:p>
          <a:p>
            <a:pPr marL="0" indent="0">
              <a:buNone/>
            </a:pP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</a:t>
            </a:r>
            <a:r>
              <a:rPr lang="sv-SE" sz="2000">
                <a:solidFill>
                  <a:schemeClr val="bg1"/>
                </a:solidFill>
                <a:latin typeface="ProximaNova"/>
              </a:rPr>
              <a:t>Sammandrag och Cup? </a:t>
            </a:r>
            <a:b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</a:b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</a:t>
            </a:r>
            <a:r>
              <a:rPr lang="sv-SE" sz="2000">
                <a:solidFill>
                  <a:schemeClr val="bg1"/>
                </a:solidFill>
              </a:rPr>
              <a:t>Lagkassa/Försäljning – Lagförälder </a:t>
            </a:r>
          </a:p>
          <a:p>
            <a:pPr marL="0" indent="0">
              <a:buNone/>
            </a:pPr>
            <a:br>
              <a:rPr lang="sv-SE" sz="2000">
                <a:solidFill>
                  <a:schemeClr val="bg1"/>
                </a:solidFill>
              </a:rPr>
            </a:b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Laget.se - lagets/föreningens informationskanal. </a:t>
            </a:r>
            <a:br>
              <a:rPr lang="sv-SE" sz="2000">
                <a:solidFill>
                  <a:schemeClr val="bg1"/>
                </a:solidFill>
              </a:rPr>
            </a:b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Föräldra- och laguppgifter</a:t>
            </a:r>
          </a:p>
          <a:p>
            <a:pPr marL="0" indent="0">
              <a:buNone/>
            </a:pP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Försäkring</a:t>
            </a:r>
          </a:p>
          <a:p>
            <a:r>
              <a:rPr lang="sv-SE" sz="2000">
                <a:solidFill>
                  <a:schemeClr val="bg1"/>
                </a:solidFill>
                <a:latin typeface="ProximaNova"/>
              </a:rPr>
              <a:t>Tjejfotboll 25/4 </a:t>
            </a:r>
          </a:p>
          <a:p>
            <a:pPr marL="0" indent="0">
              <a:buNone/>
            </a:pPr>
            <a:r>
              <a:rPr lang="sv-SE" sz="2000" b="0" i="0">
                <a:solidFill>
                  <a:schemeClr val="bg1"/>
                </a:solidFill>
                <a:effectLst/>
                <a:latin typeface="ProximaNova"/>
              </a:rPr>
              <a:t>• Övrigt</a:t>
            </a: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069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9AC4B3-1072-C887-37C1-23F983B7EB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E9E5B3-B252-7872-AD70-32334BED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8000">
                <a:solidFill>
                  <a:schemeClr val="bg1"/>
                </a:solidFill>
              </a:rPr>
              <a:t>Ledare</a:t>
            </a:r>
            <a:endParaRPr lang="en-US" sz="800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6D177C-DBD4-9FFD-D723-46FB9A657D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</a:rPr>
              <a:t>Sofia Olsson</a:t>
            </a:r>
          </a:p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</a:rPr>
              <a:t>Lotten Olsson</a:t>
            </a:r>
          </a:p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</a:rPr>
              <a:t>Angelica Nyqvist</a:t>
            </a:r>
          </a:p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</a:rPr>
              <a:t>Emelie Kareflod</a:t>
            </a:r>
          </a:p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</a:rPr>
              <a:t>Ulrika Mogren </a:t>
            </a:r>
          </a:p>
          <a:p>
            <a:pPr marL="0" indent="0">
              <a:buNone/>
            </a:pP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325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41CDA8C-1835-96F6-D436-9BB8F4DD0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504E6A87-6D9B-AE2F-5B59-5B7C28AB9E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EBCFDB-5F6B-2317-D251-E84D32CAA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0" y="1450656"/>
            <a:ext cx="4586560" cy="3956684"/>
          </a:xfrm>
        </p:spPr>
        <p:txBody>
          <a:bodyPr anchor="ctr">
            <a:normAutofit/>
          </a:bodyPr>
          <a:lstStyle/>
          <a:p>
            <a:r>
              <a:rPr lang="sv-SE" sz="8000" dirty="0">
                <a:solidFill>
                  <a:schemeClr val="bg1"/>
                </a:solidFill>
              </a:rPr>
              <a:t>Tio</a:t>
            </a:r>
            <a:br>
              <a:rPr lang="sv-SE" sz="8000" dirty="0">
                <a:solidFill>
                  <a:schemeClr val="bg1"/>
                </a:solidFill>
              </a:rPr>
            </a:br>
            <a:r>
              <a:rPr lang="sv-SE" sz="8000" dirty="0">
                <a:solidFill>
                  <a:schemeClr val="bg1"/>
                </a:solidFill>
              </a:rPr>
              <a:t>Budorden</a:t>
            </a:r>
            <a:endParaRPr lang="en-US" sz="8000" dirty="0">
              <a:solidFill>
                <a:schemeClr val="bg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4D48F2D-7937-F7FB-5A01-11049DE26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7FBBDF3-A2DB-95FC-A40C-D9588AEE47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D021E-8906-DA13-90E3-FD819668F7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 fontScale="92500" lnSpcReduction="20000"/>
          </a:bodyPr>
          <a:lstStyle/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1. Följ med på träning och match – ditt barn sätter värde på det.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 2. Skapa god stämning på träning och match.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 3. Uppehåll dig längs ena sidlinjen och var lugn. Låt barnen spela.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4. Uppmuntra alla spelarna i laget, inte bara ditt eget barn, i både med- och motgång.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5. Respektera ledarnas matchning och beslut. Sätt dig in i föreningens policy.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6. Respektera domarens beslut och se henne/ honom som en vägledare under utbildning.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7. Uppmuntra ditt barn att delta – pressa inte.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8. Fråga barnen om matchen var rolig, spännande, juste eller om spelet var bra – fokusera inte på resultatet.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9. Stöd föreningen i dess arbete. Din insats blir värdesatt, inte minst av ditt barn.</a:t>
            </a:r>
            <a:endParaRPr lang="en-US" sz="32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593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9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11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3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ruta 4">
            <a:extLst>
              <a:ext uri="{FF2B5EF4-FFF2-40B4-BE49-F238E27FC236}">
                <a16:creationId xmlns:a16="http://schemas.microsoft.com/office/drawing/2014/main" id="{F5B5079C-FEA1-CB1F-6B0D-9E59C768DE3A}"/>
              </a:ext>
            </a:extLst>
          </p:cNvPr>
          <p:cNvSpPr txBox="1"/>
          <p:nvPr/>
        </p:nvSpPr>
        <p:spPr>
          <a:xfrm>
            <a:off x="6781800" y="1073122"/>
            <a:ext cx="5008901" cy="45719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bg1"/>
                </a:solidFill>
              </a:rPr>
              <a:t>VERKSAMHETSIDÉ &amp; VÄRDEGRUND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1"/>
                </a:solidFill>
              </a:rPr>
              <a:t>E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hjälpmedel</a:t>
            </a:r>
            <a:r>
              <a:rPr lang="en-US" sz="1200" dirty="0">
                <a:solidFill>
                  <a:schemeClr val="bg1"/>
                </a:solidFill>
              </a:rPr>
              <a:t> för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ledare</a:t>
            </a:r>
            <a:r>
              <a:rPr lang="en-US" sz="1200" dirty="0">
                <a:solidFill>
                  <a:schemeClr val="bg1"/>
                </a:solidFill>
              </a:rPr>
              <a:t>, </a:t>
            </a:r>
            <a:r>
              <a:rPr lang="en-US" sz="1200" dirty="0" err="1">
                <a:solidFill>
                  <a:schemeClr val="bg1"/>
                </a:solidFill>
              </a:rPr>
              <a:t>spelare</a:t>
            </a:r>
            <a:r>
              <a:rPr lang="en-US" sz="1200" dirty="0">
                <a:solidFill>
                  <a:schemeClr val="bg1"/>
                </a:solidFill>
              </a:rPr>
              <a:t> och </a:t>
            </a:r>
            <a:r>
              <a:rPr lang="en-US" sz="1200" dirty="0" err="1">
                <a:solidFill>
                  <a:schemeClr val="bg1"/>
                </a:solidFill>
              </a:rPr>
              <a:t>föräldra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kall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dr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å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amm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håll</a:t>
            </a:r>
            <a:r>
              <a:rPr lang="en-US" sz="1200" dirty="0">
                <a:solidFill>
                  <a:schemeClr val="bg1"/>
                </a:solidFill>
              </a:rPr>
              <a:t> och </a:t>
            </a:r>
            <a:r>
              <a:rPr lang="en-US" sz="1200" dirty="0" err="1">
                <a:solidFill>
                  <a:schemeClr val="bg1"/>
                </a:solidFill>
              </a:rPr>
              <a:t>på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å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ä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få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n</a:t>
            </a:r>
            <a:r>
              <a:rPr lang="en-US" sz="1200" dirty="0">
                <a:solidFill>
                  <a:schemeClr val="bg1"/>
                </a:solidFill>
              </a:rPr>
              <a:t> bra </a:t>
            </a:r>
            <a:r>
              <a:rPr lang="en-US" sz="1200" dirty="0" err="1">
                <a:solidFill>
                  <a:schemeClr val="bg1"/>
                </a:solidFill>
              </a:rPr>
              <a:t>verksamhet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 VERKSAMHETSIDÉ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ha </a:t>
            </a:r>
            <a:r>
              <a:rPr lang="en-US" sz="1200" dirty="0" err="1">
                <a:solidFill>
                  <a:schemeClr val="bg1"/>
                </a:solidFill>
              </a:rPr>
              <a:t>en</a:t>
            </a:r>
            <a:r>
              <a:rPr lang="en-US" sz="1200" dirty="0">
                <a:solidFill>
                  <a:schemeClr val="bg1"/>
                </a:solidFill>
              </a:rPr>
              <a:t> bred </a:t>
            </a:r>
            <a:r>
              <a:rPr lang="en-US" sz="1200" dirty="0" err="1">
                <a:solidFill>
                  <a:schemeClr val="bg1"/>
                </a:solidFill>
              </a:rPr>
              <a:t>verksamhet</a:t>
            </a:r>
            <a:r>
              <a:rPr lang="en-US" sz="1200" dirty="0">
                <a:solidFill>
                  <a:schemeClr val="bg1"/>
                </a:solidFill>
              </a:rPr>
              <a:t> med </a:t>
            </a:r>
            <a:r>
              <a:rPr lang="en-US" sz="1200" dirty="0" err="1">
                <a:solidFill>
                  <a:schemeClr val="bg1"/>
                </a:solidFill>
              </a:rPr>
              <a:t>kvalité</a:t>
            </a:r>
            <a:r>
              <a:rPr lang="en-US" sz="1200" dirty="0">
                <a:solidFill>
                  <a:schemeClr val="bg1"/>
                </a:solidFill>
              </a:rPr>
              <a:t>. Det </a:t>
            </a:r>
            <a:r>
              <a:rPr lang="en-US" sz="1200" dirty="0" err="1">
                <a:solidFill>
                  <a:schemeClr val="bg1"/>
                </a:solidFill>
              </a:rPr>
              <a:t>innebä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arje</a:t>
            </a:r>
            <a:r>
              <a:rPr lang="en-US" sz="1200" dirty="0">
                <a:solidFill>
                  <a:schemeClr val="bg1"/>
                </a:solidFill>
              </a:rPr>
              <a:t> lag </a:t>
            </a:r>
            <a:r>
              <a:rPr lang="en-US" sz="1200" dirty="0" err="1">
                <a:solidFill>
                  <a:schemeClr val="bg1"/>
                </a:solidFill>
              </a:rPr>
              <a:t>skall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träv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fte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behåll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å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mång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pelar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om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möjlig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upp</a:t>
            </a:r>
            <a:r>
              <a:rPr lang="en-US" sz="1200" dirty="0">
                <a:solidFill>
                  <a:schemeClr val="bg1"/>
                </a:solidFill>
              </a:rPr>
              <a:t> till junior och senior </a:t>
            </a:r>
            <a:r>
              <a:rPr lang="en-US" sz="1200" dirty="0" err="1">
                <a:solidFill>
                  <a:schemeClr val="bg1"/>
                </a:solidFill>
              </a:rPr>
              <a:t>verksamhet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 • </a:t>
            </a:r>
            <a:r>
              <a:rPr lang="en-US" sz="1200" dirty="0" err="1">
                <a:solidFill>
                  <a:schemeClr val="bg1"/>
                </a:solidFill>
              </a:rPr>
              <a:t>Låt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ll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om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ill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få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ara</a:t>
            </a:r>
            <a:r>
              <a:rPr lang="en-US" sz="1200" dirty="0">
                <a:solidFill>
                  <a:schemeClr val="bg1"/>
                </a:solidFill>
              </a:rPr>
              <a:t> med under </a:t>
            </a:r>
            <a:r>
              <a:rPr lang="en-US" sz="1200" dirty="0" err="1">
                <a:solidFill>
                  <a:schemeClr val="bg1"/>
                </a:solidFill>
              </a:rPr>
              <a:t>motto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ha </a:t>
            </a:r>
            <a:r>
              <a:rPr lang="en-US" sz="1200" dirty="0" err="1">
                <a:solidFill>
                  <a:schemeClr val="bg1"/>
                </a:solidFill>
              </a:rPr>
              <a:t>kul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på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träning</a:t>
            </a:r>
            <a:r>
              <a:rPr lang="en-US" sz="1200" dirty="0">
                <a:solidFill>
                  <a:schemeClr val="bg1"/>
                </a:solidFill>
              </a:rPr>
              <a:t> och match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 • Ge barn </a:t>
            </a:r>
            <a:r>
              <a:rPr lang="en-US" sz="1200" dirty="0" err="1">
                <a:solidFill>
                  <a:schemeClr val="bg1"/>
                </a:solidFill>
              </a:rPr>
              <a:t>en</a:t>
            </a:r>
            <a:r>
              <a:rPr lang="en-US" sz="1200" dirty="0">
                <a:solidFill>
                  <a:schemeClr val="bg1"/>
                </a:solidFill>
              </a:rPr>
              <a:t> god social </a:t>
            </a:r>
            <a:r>
              <a:rPr lang="en-US" sz="1200" dirty="0" err="1">
                <a:solidFill>
                  <a:schemeClr val="bg1"/>
                </a:solidFill>
              </a:rPr>
              <a:t>fostra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om</a:t>
            </a:r>
            <a:r>
              <a:rPr lang="en-US" sz="1200" dirty="0">
                <a:solidFill>
                  <a:schemeClr val="bg1"/>
                </a:solidFill>
              </a:rPr>
              <a:t> de </a:t>
            </a:r>
            <a:r>
              <a:rPr lang="en-US" sz="1200" dirty="0" err="1">
                <a:solidFill>
                  <a:schemeClr val="bg1"/>
                </a:solidFill>
              </a:rPr>
              <a:t>få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nytta</a:t>
            </a:r>
            <a:r>
              <a:rPr lang="en-US" sz="1200" dirty="0">
                <a:solidFill>
                  <a:schemeClr val="bg1"/>
                </a:solidFill>
              </a:rPr>
              <a:t> av </a:t>
            </a:r>
            <a:r>
              <a:rPr lang="en-US" sz="1200" dirty="0" err="1">
                <a:solidFill>
                  <a:schemeClr val="bg1"/>
                </a:solidFill>
              </a:rPr>
              <a:t>genom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livet</a:t>
            </a:r>
            <a:r>
              <a:rPr lang="en-US" sz="1200" dirty="0">
                <a:solidFill>
                  <a:schemeClr val="bg1"/>
                </a:solidFill>
              </a:rPr>
              <a:t>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 • Skapa </a:t>
            </a:r>
            <a:r>
              <a:rPr lang="en-US" sz="1200" dirty="0" err="1">
                <a:solidFill>
                  <a:schemeClr val="bg1"/>
                </a:solidFill>
              </a:rPr>
              <a:t>kamratskap</a:t>
            </a:r>
            <a:r>
              <a:rPr lang="en-US" sz="1200" dirty="0">
                <a:solidFill>
                  <a:schemeClr val="bg1"/>
                </a:solidFill>
              </a:rPr>
              <a:t> och </a:t>
            </a:r>
            <a:r>
              <a:rPr lang="en-US" sz="1200" dirty="0" err="1">
                <a:solidFill>
                  <a:schemeClr val="bg1"/>
                </a:solidFill>
              </a:rPr>
              <a:t>stärk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jälvförtroendet</a:t>
            </a:r>
            <a:r>
              <a:rPr lang="en-US" sz="1200" dirty="0">
                <a:solidFill>
                  <a:schemeClr val="bg1"/>
                </a:solidFill>
              </a:rPr>
              <a:t> hos barn och </a:t>
            </a:r>
            <a:r>
              <a:rPr lang="en-US" sz="1200" dirty="0" err="1">
                <a:solidFill>
                  <a:schemeClr val="bg1"/>
                </a:solidFill>
              </a:rPr>
              <a:t>ungdomar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ktiv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rbeta</a:t>
            </a:r>
            <a:r>
              <a:rPr lang="en-US" sz="1200" dirty="0">
                <a:solidFill>
                  <a:schemeClr val="bg1"/>
                </a:solidFill>
              </a:rPr>
              <a:t> med </a:t>
            </a:r>
            <a:r>
              <a:rPr lang="en-US" sz="1200" dirty="0" err="1">
                <a:solidFill>
                  <a:schemeClr val="bg1"/>
                </a:solidFill>
              </a:rPr>
              <a:t>klubbgemenskape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genom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amarbet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öve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åldersgränser</a:t>
            </a:r>
            <a:r>
              <a:rPr lang="en-US" sz="1200" dirty="0">
                <a:solidFill>
                  <a:schemeClr val="bg1"/>
                </a:solidFill>
              </a:rPr>
              <a:t> (</a:t>
            </a:r>
            <a:r>
              <a:rPr lang="en-US" sz="1200" dirty="0" err="1">
                <a:solidFill>
                  <a:schemeClr val="bg1"/>
                </a:solidFill>
              </a:rPr>
              <a:t>ungdomslag</a:t>
            </a:r>
            <a:r>
              <a:rPr lang="en-US" sz="1200" dirty="0">
                <a:solidFill>
                  <a:schemeClr val="bg1"/>
                </a:solidFill>
              </a:rPr>
              <a:t>, junior- och </a:t>
            </a:r>
            <a:r>
              <a:rPr lang="en-US" sz="1200" dirty="0" err="1">
                <a:solidFill>
                  <a:schemeClr val="bg1"/>
                </a:solidFill>
              </a:rPr>
              <a:t>seniorlag</a:t>
            </a:r>
            <a:r>
              <a:rPr lang="en-US" sz="1200" dirty="0">
                <a:solidFill>
                  <a:schemeClr val="bg1"/>
                </a:solidFill>
              </a:rPr>
              <a:t>)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VÄRDEGRUND • Vi tar </a:t>
            </a:r>
            <a:r>
              <a:rPr lang="en-US" sz="1200" dirty="0" err="1">
                <a:solidFill>
                  <a:schemeClr val="bg1"/>
                </a:solidFill>
              </a:rPr>
              <a:t>hänsyn</a:t>
            </a:r>
            <a:r>
              <a:rPr lang="en-US" sz="1200" dirty="0">
                <a:solidFill>
                  <a:schemeClr val="bg1"/>
                </a:solidFill>
              </a:rPr>
              <a:t> till </a:t>
            </a:r>
            <a:r>
              <a:rPr lang="en-US" sz="1200" dirty="0" err="1">
                <a:solidFill>
                  <a:schemeClr val="bg1"/>
                </a:solidFill>
              </a:rPr>
              <a:t>barnens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behov</a:t>
            </a:r>
            <a:r>
              <a:rPr lang="en-US" sz="1200" dirty="0">
                <a:solidFill>
                  <a:schemeClr val="bg1"/>
                </a:solidFill>
              </a:rPr>
              <a:t>, barn </a:t>
            </a:r>
            <a:r>
              <a:rPr lang="en-US" sz="1200" dirty="0" err="1">
                <a:solidFill>
                  <a:schemeClr val="bg1"/>
                </a:solidFill>
              </a:rPr>
              <a:t>skall</a:t>
            </a:r>
            <a:r>
              <a:rPr lang="en-US" sz="1200" dirty="0">
                <a:solidFill>
                  <a:schemeClr val="bg1"/>
                </a:solidFill>
              </a:rPr>
              <a:t> ha </a:t>
            </a:r>
            <a:r>
              <a:rPr lang="en-US" sz="1200" dirty="0" err="1">
                <a:solidFill>
                  <a:schemeClr val="bg1"/>
                </a:solidFill>
              </a:rPr>
              <a:t>roligt</a:t>
            </a:r>
            <a:r>
              <a:rPr lang="en-US" sz="1200" dirty="0">
                <a:solidFill>
                  <a:schemeClr val="bg1"/>
                </a:solidFill>
              </a:rPr>
              <a:t>!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</a:t>
            </a:r>
            <a:r>
              <a:rPr lang="en-US" sz="1200" dirty="0" err="1">
                <a:solidFill>
                  <a:schemeClr val="bg1"/>
                </a:solidFill>
              </a:rPr>
              <a:t>agerar</a:t>
            </a:r>
            <a:r>
              <a:rPr lang="en-US" sz="1200" dirty="0">
                <a:solidFill>
                  <a:schemeClr val="bg1"/>
                </a:solidFill>
              </a:rPr>
              <a:t> mot </a:t>
            </a:r>
            <a:r>
              <a:rPr lang="en-US" sz="1200" dirty="0" err="1">
                <a:solidFill>
                  <a:schemeClr val="bg1"/>
                </a:solidFill>
              </a:rPr>
              <a:t>mobbning</a:t>
            </a:r>
            <a:r>
              <a:rPr lang="en-US" sz="1200" dirty="0">
                <a:solidFill>
                  <a:schemeClr val="bg1"/>
                </a:solidFill>
              </a:rPr>
              <a:t> och </a:t>
            </a:r>
            <a:r>
              <a:rPr lang="en-US" sz="1200" dirty="0" err="1">
                <a:solidFill>
                  <a:schemeClr val="bg1"/>
                </a:solidFill>
              </a:rPr>
              <a:t>sexuell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trakasserier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tar </a:t>
            </a:r>
            <a:r>
              <a:rPr lang="en-US" sz="1200" dirty="0" err="1">
                <a:solidFill>
                  <a:schemeClr val="bg1"/>
                </a:solidFill>
              </a:rPr>
              <a:t>avstånd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frå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droger</a:t>
            </a:r>
            <a:r>
              <a:rPr lang="en-US" sz="1200" dirty="0">
                <a:solidFill>
                  <a:schemeClr val="bg1"/>
                </a:solidFill>
              </a:rPr>
              <a:t>, </a:t>
            </a:r>
            <a:r>
              <a:rPr lang="en-US" sz="1200" dirty="0" err="1">
                <a:solidFill>
                  <a:schemeClr val="bg1"/>
                </a:solidFill>
              </a:rPr>
              <a:t>våld</a:t>
            </a:r>
            <a:r>
              <a:rPr lang="en-US" sz="1200" dirty="0">
                <a:solidFill>
                  <a:schemeClr val="bg1"/>
                </a:solidFill>
              </a:rPr>
              <a:t> och </a:t>
            </a:r>
            <a:r>
              <a:rPr lang="en-US" sz="1200" dirty="0" err="1">
                <a:solidFill>
                  <a:schemeClr val="bg1"/>
                </a:solidFill>
              </a:rPr>
              <a:t>rasism</a:t>
            </a:r>
            <a:r>
              <a:rPr lang="en-US" sz="1200" dirty="0">
                <a:solidFill>
                  <a:schemeClr val="bg1"/>
                </a:solidFill>
              </a:rPr>
              <a:t>!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</a:t>
            </a:r>
            <a:r>
              <a:rPr lang="en-US" sz="1200" dirty="0" err="1">
                <a:solidFill>
                  <a:schemeClr val="bg1"/>
                </a:solidFill>
              </a:rPr>
              <a:t>använde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int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vordomar</a:t>
            </a:r>
            <a:r>
              <a:rPr lang="en-US" sz="1200" dirty="0">
                <a:solidFill>
                  <a:schemeClr val="bg1"/>
                </a:solidFill>
              </a:rPr>
              <a:t>, </a:t>
            </a:r>
            <a:r>
              <a:rPr lang="en-US" sz="1200" dirty="0" err="1">
                <a:solidFill>
                  <a:schemeClr val="bg1"/>
                </a:solidFill>
              </a:rPr>
              <a:t>könsord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lle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ndr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kränkand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uttryck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</a:t>
            </a:r>
            <a:r>
              <a:rPr lang="en-US" sz="1200" dirty="0" err="1">
                <a:solidFill>
                  <a:schemeClr val="bg1"/>
                </a:solidFill>
              </a:rPr>
              <a:t>lä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arandr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umgås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i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grupp</a:t>
            </a:r>
            <a:r>
              <a:rPr lang="en-US" sz="1200" dirty="0">
                <a:solidFill>
                  <a:schemeClr val="bg1"/>
                </a:solidFill>
              </a:rPr>
              <a:t> och ta </a:t>
            </a:r>
            <a:r>
              <a:rPr lang="en-US" sz="1200" dirty="0" err="1">
                <a:solidFill>
                  <a:schemeClr val="bg1"/>
                </a:solidFill>
              </a:rPr>
              <a:t>hänsyn</a:t>
            </a:r>
            <a:r>
              <a:rPr lang="en-US" sz="1200" dirty="0">
                <a:solidFill>
                  <a:schemeClr val="bg1"/>
                </a:solidFill>
              </a:rPr>
              <a:t> till </a:t>
            </a:r>
            <a:r>
              <a:rPr lang="en-US" sz="1200" dirty="0" err="1">
                <a:solidFill>
                  <a:schemeClr val="bg1"/>
                </a:solidFill>
              </a:rPr>
              <a:t>varandra</a:t>
            </a:r>
            <a:r>
              <a:rPr lang="en-US" sz="1200" dirty="0">
                <a:solidFill>
                  <a:schemeClr val="bg1"/>
                </a:solidFill>
              </a:rPr>
              <a:t>.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ser </a:t>
            </a:r>
            <a:r>
              <a:rPr lang="en-US" sz="1200" dirty="0" err="1">
                <a:solidFill>
                  <a:schemeClr val="bg1"/>
                </a:solidFill>
              </a:rPr>
              <a:t>seriespele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om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förlängning</a:t>
            </a:r>
            <a:r>
              <a:rPr lang="en-US" sz="1200" dirty="0">
                <a:solidFill>
                  <a:schemeClr val="bg1"/>
                </a:solidFill>
              </a:rPr>
              <a:t> av </a:t>
            </a:r>
            <a:r>
              <a:rPr lang="en-US" sz="1200" dirty="0" err="1">
                <a:solidFill>
                  <a:schemeClr val="bg1"/>
                </a:solidFill>
              </a:rPr>
              <a:t>träningen</a:t>
            </a:r>
            <a:r>
              <a:rPr lang="en-US" sz="1200" dirty="0">
                <a:solidFill>
                  <a:schemeClr val="bg1"/>
                </a:solidFill>
              </a:rPr>
              <a:t>. Det </a:t>
            </a:r>
            <a:r>
              <a:rPr lang="en-US" sz="1200" dirty="0" err="1">
                <a:solidFill>
                  <a:schemeClr val="bg1"/>
                </a:solidFill>
              </a:rPr>
              <a:t>ä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iktigar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utveckla</a:t>
            </a:r>
            <a:r>
              <a:rPr lang="en-US" sz="1200" dirty="0">
                <a:solidFill>
                  <a:schemeClr val="bg1"/>
                </a:solidFill>
              </a:rPr>
              <a:t>/</a:t>
            </a:r>
            <a:r>
              <a:rPr lang="en-US" sz="1200" dirty="0" err="1">
                <a:solidFill>
                  <a:schemeClr val="bg1"/>
                </a:solidFill>
              </a:rPr>
              <a:t>utbild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pelare</a:t>
            </a:r>
            <a:r>
              <a:rPr lang="en-US" sz="1200" dirty="0">
                <a:solidFill>
                  <a:schemeClr val="bg1"/>
                </a:solidFill>
              </a:rPr>
              <a:t> bra, </a:t>
            </a:r>
            <a:r>
              <a:rPr lang="en-US" sz="1200" dirty="0" err="1">
                <a:solidFill>
                  <a:schemeClr val="bg1"/>
                </a:solidFill>
              </a:rPr>
              <a:t>än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t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inn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n</a:t>
            </a:r>
            <a:r>
              <a:rPr lang="en-US" sz="1200" dirty="0">
                <a:solidFill>
                  <a:schemeClr val="bg1"/>
                </a:solidFill>
              </a:rPr>
              <a:t> match!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</a:t>
            </a:r>
            <a:r>
              <a:rPr lang="en-US" sz="1200" dirty="0" err="1">
                <a:solidFill>
                  <a:schemeClr val="bg1"/>
                </a:solidFill>
              </a:rPr>
              <a:t>stötta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vårt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eget</a:t>
            </a:r>
            <a:r>
              <a:rPr lang="en-US" sz="1200" dirty="0">
                <a:solidFill>
                  <a:schemeClr val="bg1"/>
                </a:solidFill>
              </a:rPr>
              <a:t> lag och </a:t>
            </a:r>
            <a:r>
              <a:rPr lang="en-US" sz="1200" dirty="0" err="1">
                <a:solidFill>
                  <a:schemeClr val="bg1"/>
                </a:solidFill>
              </a:rPr>
              <a:t>hånar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inte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motståndarna</a:t>
            </a:r>
            <a:r>
              <a:rPr lang="en-US" sz="1200" dirty="0">
                <a:solidFill>
                  <a:schemeClr val="bg1"/>
                </a:solidFill>
              </a:rPr>
              <a:t>!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• Vi ser </a:t>
            </a:r>
            <a:r>
              <a:rPr lang="en-US" sz="1200" dirty="0" err="1">
                <a:solidFill>
                  <a:schemeClr val="bg1"/>
                </a:solidFill>
              </a:rPr>
              <a:t>motståndarna</a:t>
            </a:r>
            <a:r>
              <a:rPr lang="en-US" sz="1200" dirty="0">
                <a:solidFill>
                  <a:schemeClr val="bg1"/>
                </a:solidFill>
              </a:rPr>
              <a:t> och </a:t>
            </a:r>
            <a:r>
              <a:rPr lang="en-US" sz="1200" dirty="0" err="1">
                <a:solidFill>
                  <a:schemeClr val="bg1"/>
                </a:solidFill>
              </a:rPr>
              <a:t>domarn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som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fotbollskompisar</a:t>
            </a:r>
            <a:r>
              <a:rPr lang="en-US" sz="1200" dirty="0">
                <a:solidFill>
                  <a:schemeClr val="bg1"/>
                </a:solidFill>
              </a:rPr>
              <a:t> bland </a:t>
            </a:r>
            <a:r>
              <a:rPr lang="en-US" sz="1200" dirty="0" err="1">
                <a:solidFill>
                  <a:schemeClr val="bg1"/>
                </a:solidFill>
              </a:rPr>
              <a:t>alla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en-US" sz="1200" dirty="0" err="1">
                <a:solidFill>
                  <a:schemeClr val="bg1"/>
                </a:solidFill>
              </a:rPr>
              <a:t>andra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636E192-F40B-8B0A-AF95-F0F86B2071CE}"/>
              </a:ext>
            </a:extLst>
          </p:cNvPr>
          <p:cNvSpPr txBox="1"/>
          <p:nvPr/>
        </p:nvSpPr>
        <p:spPr>
          <a:xfrm>
            <a:off x="246401" y="1917281"/>
            <a:ext cx="6040099" cy="25911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5400" dirty="0">
                <a:solidFill>
                  <a:schemeClr val="bg1"/>
                </a:solidFill>
              </a:rPr>
              <a:t>Vår barn- &amp; ungdomsverksamhet – policy &amp; riktlinjer</a:t>
            </a:r>
          </a:p>
        </p:txBody>
      </p:sp>
    </p:spTree>
    <p:extLst>
      <p:ext uri="{BB962C8B-B14F-4D97-AF65-F5344CB8AC3E}">
        <p14:creationId xmlns:p14="http://schemas.microsoft.com/office/powerpoint/2010/main" val="3473858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A39E221-BD44-C110-8571-4D081C210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6800">
                <a:solidFill>
                  <a:schemeClr val="bg1"/>
                </a:solidFill>
              </a:rPr>
              <a:t>EN FÖR ALLA – IFK VALLA </a:t>
            </a:r>
            <a:br>
              <a:rPr lang="sv-SE" sz="6800">
                <a:solidFill>
                  <a:schemeClr val="bg1"/>
                </a:solidFill>
              </a:rPr>
            </a:br>
            <a:endParaRPr lang="sv-SE" sz="680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F6E0C8-E0DC-899F-2F59-8BA1E44780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FÖRÄLDRARNA I VALLA: </a:t>
            </a:r>
          </a:p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• Stöttar och uppmuntrar spelarna i med- som motgång.</a:t>
            </a:r>
          </a:p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• Uppträder som ett föredöme vid sidan av planen.</a:t>
            </a:r>
          </a:p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• Ger mycket beröm och fokuserar ej på resultat. </a:t>
            </a:r>
          </a:p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• Respekterar rollfördelningen ledare – förälder. </a:t>
            </a:r>
          </a:p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• Visar engagemang och bidrar vid träning, match och andra arrangemang som är viktiga för laget och föreningen.</a:t>
            </a:r>
          </a:p>
          <a:p>
            <a:pPr marL="0" indent="0">
              <a:buNone/>
            </a:pPr>
            <a:endParaRPr lang="sv-SE" sz="200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sv-SE" sz="200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sv-SE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760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EB11E17-108A-EE7E-7997-0E1AEC87A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8000">
                <a:solidFill>
                  <a:schemeClr val="bg1"/>
                </a:solidFill>
              </a:rPr>
              <a:t>LEDARE I VALLA: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193D41-4F19-6999-E59E-97FF29472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Arbetar enligt föreningens verksamhetsidé och följer dess policy. 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Accepterar inte någon kränkande behandling och agerar direkt om kränkningar förekommer. Nolltolerans! 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Föregår med gott exempel på och vid sidan av planen. Stöttar sin spelare, klagar inte på domare, har ett vårdat språk och ödmjuk inställning. 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Ser och tar sig tid med varje barn i laget och försöker se dess behov.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Sätter glädje och gemenskap före idrottslig prestation. </a:t>
            </a:r>
          </a:p>
          <a:p>
            <a:pPr marL="0" indent="0">
              <a:buNone/>
            </a:pPr>
            <a:endParaRPr lang="sv-SE" sz="140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SPELARE/LAGEN I VALLA: 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Erbjuds bra utbildning, såväl i fotboll som i fair play. 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• Får erfarenheter, gemenskap och många kamrater.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 • Deltar i föreningsaktiviteter med stolthet.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 • Uppträder som en god representant för föreningen.</a:t>
            </a:r>
          </a:p>
          <a:p>
            <a:pPr marL="0" indent="0">
              <a:buNone/>
            </a:pPr>
            <a:r>
              <a:rPr lang="sv-SE" sz="1400">
                <a:solidFill>
                  <a:schemeClr val="bg1"/>
                </a:solidFill>
              </a:rPr>
              <a:t> • Är en god kamrat.</a:t>
            </a:r>
          </a:p>
        </p:txBody>
      </p:sp>
    </p:spTree>
    <p:extLst>
      <p:ext uri="{BB962C8B-B14F-4D97-AF65-F5344CB8AC3E}">
        <p14:creationId xmlns:p14="http://schemas.microsoft.com/office/powerpoint/2010/main" val="10998089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9DA7C3-3FD0-FD60-6605-DE82347B1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7400" b="0" i="0">
                <a:solidFill>
                  <a:schemeClr val="bg1"/>
                </a:solidFill>
                <a:effectLst/>
                <a:latin typeface="ProximaNova"/>
              </a:rPr>
              <a:t>Träningar</a:t>
            </a:r>
            <a:endParaRPr lang="en-US" sz="7400">
              <a:solidFill>
                <a:schemeClr val="bg1"/>
              </a:solidFill>
            </a:endParaRPr>
          </a:p>
        </p:txBody>
      </p:sp>
      <p:cxnSp>
        <p:nvCxnSpPr>
          <p:cNvPr id="18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46540CB-179A-9707-90BC-E8B93FC5A6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1"/>
            <a:ext cx="5008901" cy="457197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1 träning i veckan</a:t>
            </a:r>
          </a:p>
          <a:p>
            <a:pPr marL="0" indent="0">
              <a:buNone/>
            </a:pPr>
            <a:r>
              <a:rPr lang="sv-SE" sz="2000">
                <a:solidFill>
                  <a:schemeClr val="bg1"/>
                </a:solidFill>
              </a:rPr>
              <a:t>17:30- 18:45 </a:t>
            </a:r>
          </a:p>
          <a:p>
            <a:pPr marL="0" indent="0">
              <a:buNone/>
            </a:pPr>
            <a:r>
              <a:rPr lang="sv-SE" sz="2000" u="sng">
                <a:solidFill>
                  <a:schemeClr val="bg1"/>
                </a:solidFill>
              </a:rPr>
              <a:t>Respektera tiderna. </a:t>
            </a:r>
          </a:p>
          <a:p>
            <a:pPr marL="0" indent="0">
              <a:buNone/>
            </a:pPr>
            <a:endParaRPr lang="en-US" sz="2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483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E8A8EAB8-D2FF-444D-B34B-7D32F106AD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6F27B9-766C-F427-F9DE-79EE67747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141" y="1450655"/>
            <a:ext cx="3932030" cy="3956690"/>
          </a:xfrm>
        </p:spPr>
        <p:txBody>
          <a:bodyPr anchor="ctr">
            <a:normAutofit/>
          </a:bodyPr>
          <a:lstStyle/>
          <a:p>
            <a:r>
              <a:rPr lang="sv-SE" sz="5000" b="0" i="0">
                <a:solidFill>
                  <a:schemeClr val="bg1"/>
                </a:solidFill>
                <a:effectLst/>
                <a:latin typeface="ProximaNova"/>
              </a:rPr>
              <a:t>Sammandrag Cuper</a:t>
            </a:r>
            <a:endParaRPr lang="en-US" sz="5000">
              <a:solidFill>
                <a:schemeClr val="bg1"/>
              </a:solidFill>
            </a:endParaRPr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067633D1-6EE6-4118-B9F0-B363477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1450655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1">
            <a:extLst>
              <a:ext uri="{FF2B5EF4-FFF2-40B4-BE49-F238E27FC236}">
                <a16:creationId xmlns:a16="http://schemas.microsoft.com/office/drawing/2014/main" id="{4AD7FFC6-42A9-49CB-B5E9-B3F6B0383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1014141" y="5408571"/>
            <a:ext cx="393203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498356-C9F4-D481-6399-CC43134D41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08060"/>
            <a:ext cx="5989983" cy="473613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V19 sammandrag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V21 Sammandrag</a:t>
            </a:r>
          </a:p>
          <a:p>
            <a:pPr marL="0" indent="0">
              <a:buNone/>
            </a:pPr>
            <a:endParaRPr lang="sv-SE" sz="20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V36 Ahlaforscupen ?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V37 Sammandrag, önskat att arrangera hemma </a:t>
            </a:r>
          </a:p>
          <a:p>
            <a:pPr marL="0" indent="0">
              <a:buNone/>
            </a:pPr>
            <a:r>
              <a:rPr lang="sv-SE" sz="2000" dirty="0">
                <a:solidFill>
                  <a:schemeClr val="bg1"/>
                </a:solidFill>
              </a:rPr>
              <a:t>V39 Sammandrag </a:t>
            </a:r>
          </a:p>
        </p:txBody>
      </p:sp>
    </p:spTree>
    <p:extLst>
      <p:ext uri="{BB962C8B-B14F-4D97-AF65-F5344CB8AC3E}">
        <p14:creationId xmlns:p14="http://schemas.microsoft.com/office/powerpoint/2010/main" val="656306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öd">
      <a:dk1>
        <a:sysClr val="windowText" lastClr="000000"/>
      </a:dk1>
      <a:lt1>
        <a:sysClr val="window" lastClr="FFFFFF"/>
      </a:lt1>
      <a:dk2>
        <a:srgbClr val="323232"/>
      </a:dk2>
      <a:lt2>
        <a:srgbClr val="E5C243"/>
      </a:lt2>
      <a:accent1>
        <a:srgbClr val="A5300F"/>
      </a:accent1>
      <a:accent2>
        <a:srgbClr val="D55816"/>
      </a:accent2>
      <a:accent3>
        <a:srgbClr val="E19825"/>
      </a:accent3>
      <a:accent4>
        <a:srgbClr val="B19C7D"/>
      </a:accent4>
      <a:accent5>
        <a:srgbClr val="7F5F52"/>
      </a:accent5>
      <a:accent6>
        <a:srgbClr val="B27D49"/>
      </a:accent6>
      <a:hlink>
        <a:srgbClr val="6B9F25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90</TotalTime>
  <Words>1122</Words>
  <Application>Microsoft Office PowerPoint</Application>
  <PresentationFormat>Bredbild</PresentationFormat>
  <Paragraphs>116</Paragraphs>
  <Slides>19</Slides>
  <Notes>9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25" baseType="lpstr">
      <vt:lpstr>Arial</vt:lpstr>
      <vt:lpstr>Calibri</vt:lpstr>
      <vt:lpstr>Calibri Light</vt:lpstr>
      <vt:lpstr>ProximaNova</vt:lpstr>
      <vt:lpstr>Office Theme</vt:lpstr>
      <vt:lpstr>think-cell Slide</vt:lpstr>
      <vt:lpstr>IFK VALLA F16/17</vt:lpstr>
      <vt:lpstr>Agenda</vt:lpstr>
      <vt:lpstr>Ledare</vt:lpstr>
      <vt:lpstr>Tio Budorden</vt:lpstr>
      <vt:lpstr>PowerPoint-presentation</vt:lpstr>
      <vt:lpstr>EN FÖR ALLA – IFK VALLA  </vt:lpstr>
      <vt:lpstr>LEDARE I VALLA: </vt:lpstr>
      <vt:lpstr>Träningar</vt:lpstr>
      <vt:lpstr>Sammandrag Cuper</vt:lpstr>
      <vt:lpstr>Lagföräldrar</vt:lpstr>
      <vt:lpstr>Laget.se</vt:lpstr>
      <vt:lpstr>PowerPoint-presentation</vt:lpstr>
      <vt:lpstr>Föräldra/ laguppgifter</vt:lpstr>
      <vt:lpstr>IFK Vallas träningskläder/ träningsoverall</vt:lpstr>
      <vt:lpstr>Försäkring</vt:lpstr>
      <vt:lpstr>Majblomman</vt:lpstr>
      <vt:lpstr>Tjejfotboll </vt:lpstr>
      <vt:lpstr>Fotbollsskolan </vt:lpstr>
      <vt:lpstr>Övrigt Frågor Feedback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FK VALLA F12/13</dc:title>
  <dc:creator>Christensson, Frida</dc:creator>
  <cp:lastModifiedBy>Sofia Olsson</cp:lastModifiedBy>
  <cp:revision>8</cp:revision>
  <dcterms:created xsi:type="dcterms:W3CDTF">2023-02-06T14:53:08Z</dcterms:created>
  <dcterms:modified xsi:type="dcterms:W3CDTF">2025-04-10T06:0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9bfe634-5369-40ae-a17a-0ffc3537e7cd_Enabled">
    <vt:lpwstr>true</vt:lpwstr>
  </property>
  <property fmtid="{D5CDD505-2E9C-101B-9397-08002B2CF9AE}" pid="3" name="MSIP_Label_59bfe634-5369-40ae-a17a-0ffc3537e7cd_SetDate">
    <vt:lpwstr>2025-01-09T18:35:47Z</vt:lpwstr>
  </property>
  <property fmtid="{D5CDD505-2E9C-101B-9397-08002B2CF9AE}" pid="4" name="MSIP_Label_59bfe634-5369-40ae-a17a-0ffc3537e7cd_Method">
    <vt:lpwstr>Standard</vt:lpwstr>
  </property>
  <property fmtid="{D5CDD505-2E9C-101B-9397-08002B2CF9AE}" pid="5" name="MSIP_Label_59bfe634-5369-40ae-a17a-0ffc3537e7cd_Name">
    <vt:lpwstr>59bfe634-5369-40ae-a17a-0ffc3537e7cd</vt:lpwstr>
  </property>
  <property fmtid="{D5CDD505-2E9C-101B-9397-08002B2CF9AE}" pid="6" name="MSIP_Label_59bfe634-5369-40ae-a17a-0ffc3537e7cd_SiteId">
    <vt:lpwstr>05764a73-8c6f-4538-83cd-413f1e1b5665</vt:lpwstr>
  </property>
  <property fmtid="{D5CDD505-2E9C-101B-9397-08002B2CF9AE}" pid="7" name="MSIP_Label_59bfe634-5369-40ae-a17a-0ffc3537e7cd_ActionId">
    <vt:lpwstr>7a1f9441-5cfc-4ee2-86d8-23f3344eada8</vt:lpwstr>
  </property>
  <property fmtid="{D5CDD505-2E9C-101B-9397-08002B2CF9AE}" pid="8" name="MSIP_Label_59bfe634-5369-40ae-a17a-0ffc3537e7cd_ContentBits">
    <vt:lpwstr>0</vt:lpwstr>
  </property>
</Properties>
</file>